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ppt/tags/tag19.xml" ContentType="application/vnd.openxmlformats-officedocument.presentationml.tags+xml"/>
  <Override PartName="/ppt/notesSlides/notesSlide13.xml" ContentType="application/vnd.openxmlformats-officedocument.presentationml.notesSlide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notesSlides/notesSlide15.xml" ContentType="application/vnd.openxmlformats-officedocument.presentationml.notesSlide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tags/tag23.xml" ContentType="application/vnd.openxmlformats-officedocument.presentationml.tags+xml"/>
  <Override PartName="/ppt/notesSlides/notesSlide1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tags/tag27.xml" ContentType="application/vnd.openxmlformats-officedocument.presentationml.tags+xml"/>
  <Override PartName="/ppt/notesSlides/notesSlide20.xml" ContentType="application/vnd.openxmlformats-officedocument.presentationml.notesSlide+xml"/>
  <Override PartName="/ppt/tags/tag28.xml" ContentType="application/vnd.openxmlformats-officedocument.presentationml.tags+xml"/>
  <Override PartName="/ppt/notesSlides/notesSlide2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40" r:id="rId2"/>
    <p:sldMasterId id="2147483733" r:id="rId3"/>
  </p:sldMasterIdLst>
  <p:notesMasterIdLst>
    <p:notesMasterId r:id="rId26"/>
  </p:notesMasterIdLst>
  <p:sldIdLst>
    <p:sldId id="1927" r:id="rId4"/>
    <p:sldId id="1998" r:id="rId5"/>
    <p:sldId id="2000" r:id="rId6"/>
    <p:sldId id="2001" r:id="rId7"/>
    <p:sldId id="2016" r:id="rId8"/>
    <p:sldId id="2017" r:id="rId9"/>
    <p:sldId id="2018" r:id="rId10"/>
    <p:sldId id="2003" r:id="rId11"/>
    <p:sldId id="2010" r:id="rId12"/>
    <p:sldId id="2011" r:id="rId13"/>
    <p:sldId id="259" r:id="rId14"/>
    <p:sldId id="257" r:id="rId15"/>
    <p:sldId id="260" r:id="rId16"/>
    <p:sldId id="265" r:id="rId17"/>
    <p:sldId id="266" r:id="rId18"/>
    <p:sldId id="267" r:id="rId19"/>
    <p:sldId id="268" r:id="rId20"/>
    <p:sldId id="336" r:id="rId21"/>
    <p:sldId id="1404" r:id="rId22"/>
    <p:sldId id="1406" r:id="rId23"/>
    <p:sldId id="1407" r:id="rId24"/>
    <p:sldId id="2015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ne Højmark" initials="RH" lastIdx="7" clrIdx="0">
    <p:extLst>
      <p:ext uri="{19B8F6BF-5375-455C-9EA6-DF929625EA0E}">
        <p15:presenceInfo xmlns:p15="http://schemas.microsoft.com/office/powerpoint/2012/main" userId="8a37c93aae4e1f6d" providerId="Windows Live"/>
      </p:ext>
    </p:extLst>
  </p:cmAuthor>
  <p:cmAuthor id="2" name="Johanne Fyhn Elgaard" initials="JFE" lastIdx="1" clrIdx="1">
    <p:extLst>
      <p:ext uri="{19B8F6BF-5375-455C-9EA6-DF929625EA0E}">
        <p15:presenceInfo xmlns:p15="http://schemas.microsoft.com/office/powerpoint/2012/main" userId="S::johf@ramboll.com::12266bb9-8ef1-4470-9150-0e187a496051" providerId="AD"/>
      </p:ext>
    </p:extLst>
  </p:cmAuthor>
  <p:cmAuthor id="3" name="Trine Abild" initials="TA" lastIdx="3" clrIdx="2">
    <p:extLst>
      <p:ext uri="{19B8F6BF-5375-455C-9EA6-DF929625EA0E}">
        <p15:presenceInfo xmlns:p15="http://schemas.microsoft.com/office/powerpoint/2012/main" userId="S::TAD@ramboll.com::7fef6256-38ec-4f3d-bd91-c4312491dec2" providerId="AD"/>
      </p:ext>
    </p:extLst>
  </p:cmAuthor>
  <p:cmAuthor id="4" name="Philip Dehn Søgaard" initials="PDS" lastIdx="1" clrIdx="3">
    <p:extLst>
      <p:ext uri="{19B8F6BF-5375-455C-9EA6-DF929625EA0E}">
        <p15:presenceInfo xmlns:p15="http://schemas.microsoft.com/office/powerpoint/2012/main" userId="S::PDSD@ramboll.com::3a306e1c-f5f4-4349-b43a-4f7e0e2af60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98E1"/>
    <a:srgbClr val="05326E"/>
    <a:srgbClr val="454545"/>
    <a:srgbClr val="125A40"/>
    <a:srgbClr val="026778"/>
    <a:srgbClr val="00B0A8"/>
    <a:srgbClr val="1D3768"/>
    <a:srgbClr val="B8B5B6"/>
    <a:srgbClr val="224A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347B56-A5C3-49DE-B82F-DB7F31D97DF9}" v="1" dt="2022-03-30T20:03:05.472"/>
    <p1510:client id="{94051F65-3840-4ACD-89C1-7DEB1362CDE4}" v="60" dt="2022-03-31T10:47:23.6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126" autoAdjust="0"/>
  </p:normalViewPr>
  <p:slideViewPr>
    <p:cSldViewPr snapToGrid="0">
      <p:cViewPr varScale="1">
        <p:scale>
          <a:sx n="92" d="100"/>
          <a:sy n="92" d="100"/>
        </p:scale>
        <p:origin x="114" y="6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microsoft.com/office/2015/10/relationships/revisionInfo" Target="revisionInfo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Schwartz Ravn" userId="5565d94d-4294-429d-97f8-3b887db8e67e" providerId="ADAL" clId="{94051F65-3840-4ACD-89C1-7DEB1362CDE4}"/>
    <pc:docChg chg="undo custSel addSld delSld modSld">
      <pc:chgData name="Michael Schwartz Ravn" userId="5565d94d-4294-429d-97f8-3b887db8e67e" providerId="ADAL" clId="{94051F65-3840-4ACD-89C1-7DEB1362CDE4}" dt="2022-03-31T10:47:23.631" v="91" actId="14100"/>
      <pc:docMkLst>
        <pc:docMk/>
      </pc:docMkLst>
      <pc:sldChg chg="addSp delSp modSp del mod">
        <pc:chgData name="Michael Schwartz Ravn" userId="5565d94d-4294-429d-97f8-3b887db8e67e" providerId="ADAL" clId="{94051F65-3840-4ACD-89C1-7DEB1362CDE4}" dt="2022-03-31T10:42:44.609" v="45" actId="47"/>
        <pc:sldMkLst>
          <pc:docMk/>
          <pc:sldMk cId="2283618284" sldId="1993"/>
        </pc:sldMkLst>
        <pc:spChg chg="mod">
          <ac:chgData name="Michael Schwartz Ravn" userId="5565d94d-4294-429d-97f8-3b887db8e67e" providerId="ADAL" clId="{94051F65-3840-4ACD-89C1-7DEB1362CDE4}" dt="2022-03-31T10:35:27.816" v="6" actId="1076"/>
          <ac:spMkLst>
            <pc:docMk/>
            <pc:sldMk cId="2283618284" sldId="1993"/>
            <ac:spMk id="10" creationId="{D92B6015-EDAB-4386-A91D-737AA7FEF7AF}"/>
          </ac:spMkLst>
        </pc:spChg>
        <pc:graphicFrameChg chg="add del mod">
          <ac:chgData name="Michael Schwartz Ravn" userId="5565d94d-4294-429d-97f8-3b887db8e67e" providerId="ADAL" clId="{94051F65-3840-4ACD-89C1-7DEB1362CDE4}" dt="2022-03-31T10:35:10.559" v="2" actId="478"/>
          <ac:graphicFrameMkLst>
            <pc:docMk/>
            <pc:sldMk cId="2283618284" sldId="1993"/>
            <ac:graphicFrameMk id="13" creationId="{95CDCFBF-C12E-4FF7-83A5-8824AB58EABF}"/>
          </ac:graphicFrameMkLst>
        </pc:graphicFrameChg>
        <pc:graphicFrameChg chg="add del mod">
          <ac:chgData name="Michael Schwartz Ravn" userId="5565d94d-4294-429d-97f8-3b887db8e67e" providerId="ADAL" clId="{94051F65-3840-4ACD-89C1-7DEB1362CDE4}" dt="2022-03-31T10:35:41.845" v="8" actId="478"/>
          <ac:graphicFrameMkLst>
            <pc:docMk/>
            <pc:sldMk cId="2283618284" sldId="1993"/>
            <ac:graphicFrameMk id="15" creationId="{95CDCFBF-C12E-4FF7-83A5-8824AB58EABF}"/>
          </ac:graphicFrameMkLst>
        </pc:graphicFrameChg>
      </pc:sldChg>
      <pc:sldChg chg="modSp del">
        <pc:chgData name="Michael Schwartz Ravn" userId="5565d94d-4294-429d-97f8-3b887db8e67e" providerId="ADAL" clId="{94051F65-3840-4ACD-89C1-7DEB1362CDE4}" dt="2022-03-31T10:44:32.414" v="55" actId="47"/>
        <pc:sldMkLst>
          <pc:docMk/>
          <pc:sldMk cId="1920748826" sldId="1994"/>
        </pc:sldMkLst>
        <pc:graphicFrameChg chg="mod">
          <ac:chgData name="Michael Schwartz Ravn" userId="5565d94d-4294-429d-97f8-3b887db8e67e" providerId="ADAL" clId="{94051F65-3840-4ACD-89C1-7DEB1362CDE4}" dt="2022-03-31T10:42:58.651" v="46"/>
          <ac:graphicFrameMkLst>
            <pc:docMk/>
            <pc:sldMk cId="1920748826" sldId="1994"/>
            <ac:graphicFrameMk id="11" creationId="{E488BF13-15BA-4677-9888-A602E53FD223}"/>
          </ac:graphicFrameMkLst>
        </pc:graphicFrameChg>
      </pc:sldChg>
      <pc:sldChg chg="del">
        <pc:chgData name="Michael Schwartz Ravn" userId="5565d94d-4294-429d-97f8-3b887db8e67e" providerId="ADAL" clId="{94051F65-3840-4ACD-89C1-7DEB1362CDE4}" dt="2022-03-31T10:47:03.262" v="83" actId="47"/>
        <pc:sldMkLst>
          <pc:docMk/>
          <pc:sldMk cId="2192816201" sldId="1995"/>
        </pc:sldMkLst>
      </pc:sldChg>
      <pc:sldChg chg="addSp delSp modSp add mod">
        <pc:chgData name="Michael Schwartz Ravn" userId="5565d94d-4294-429d-97f8-3b887db8e67e" providerId="ADAL" clId="{94051F65-3840-4ACD-89C1-7DEB1362CDE4}" dt="2022-03-31T10:42:30.245" v="44" actId="255"/>
        <pc:sldMkLst>
          <pc:docMk/>
          <pc:sldMk cId="2708157978" sldId="2016"/>
        </pc:sldMkLst>
        <pc:spChg chg="mod ord">
          <ac:chgData name="Michael Schwartz Ravn" userId="5565d94d-4294-429d-97f8-3b887db8e67e" providerId="ADAL" clId="{94051F65-3840-4ACD-89C1-7DEB1362CDE4}" dt="2022-03-31T10:41:00.053" v="35" actId="1076"/>
          <ac:spMkLst>
            <pc:docMk/>
            <pc:sldMk cId="2708157978" sldId="2016"/>
            <ac:spMk id="10" creationId="{D92B6015-EDAB-4386-A91D-737AA7FEF7AF}"/>
          </ac:spMkLst>
        </pc:spChg>
        <pc:graphicFrameChg chg="del">
          <ac:chgData name="Michael Schwartz Ravn" userId="5565d94d-4294-429d-97f8-3b887db8e67e" providerId="ADAL" clId="{94051F65-3840-4ACD-89C1-7DEB1362CDE4}" dt="2022-03-31T10:38:05.778" v="10" actId="478"/>
          <ac:graphicFrameMkLst>
            <pc:docMk/>
            <pc:sldMk cId="2708157978" sldId="2016"/>
            <ac:graphicFrameMk id="12" creationId="{95CDCFBF-C12E-4FF7-83A5-8824AB58EABF}"/>
          </ac:graphicFrameMkLst>
        </pc:graphicFrameChg>
        <pc:graphicFrameChg chg="add del mod">
          <ac:chgData name="Michael Schwartz Ravn" userId="5565d94d-4294-429d-97f8-3b887db8e67e" providerId="ADAL" clId="{94051F65-3840-4ACD-89C1-7DEB1362CDE4}" dt="2022-03-31T10:40:25.648" v="26" actId="478"/>
          <ac:graphicFrameMkLst>
            <pc:docMk/>
            <pc:sldMk cId="2708157978" sldId="2016"/>
            <ac:graphicFrameMk id="13" creationId="{95CDCFBF-C12E-4FF7-83A5-8824AB58EABF}"/>
          </ac:graphicFrameMkLst>
        </pc:graphicFrameChg>
        <pc:graphicFrameChg chg="add mod">
          <ac:chgData name="Michael Schwartz Ravn" userId="5565d94d-4294-429d-97f8-3b887db8e67e" providerId="ADAL" clId="{94051F65-3840-4ACD-89C1-7DEB1362CDE4}" dt="2022-03-31T10:42:30.245" v="44" actId="255"/>
          <ac:graphicFrameMkLst>
            <pc:docMk/>
            <pc:sldMk cId="2708157978" sldId="2016"/>
            <ac:graphicFrameMk id="15" creationId="{434C2E39-D8DF-403D-925D-A7AEB4129FF7}"/>
          </ac:graphicFrameMkLst>
        </pc:graphicFrameChg>
      </pc:sldChg>
      <pc:sldChg chg="addSp delSp modSp add mod">
        <pc:chgData name="Michael Schwartz Ravn" userId="5565d94d-4294-429d-97f8-3b887db8e67e" providerId="ADAL" clId="{94051F65-3840-4ACD-89C1-7DEB1362CDE4}" dt="2022-03-31T10:47:23.631" v="91" actId="14100"/>
        <pc:sldMkLst>
          <pc:docMk/>
          <pc:sldMk cId="2193029723" sldId="2017"/>
        </pc:sldMkLst>
        <pc:graphicFrameChg chg="del">
          <ac:chgData name="Michael Schwartz Ravn" userId="5565d94d-4294-429d-97f8-3b887db8e67e" providerId="ADAL" clId="{94051F65-3840-4ACD-89C1-7DEB1362CDE4}" dt="2022-03-31T10:43:03.574" v="48" actId="478"/>
          <ac:graphicFrameMkLst>
            <pc:docMk/>
            <pc:sldMk cId="2193029723" sldId="2017"/>
            <ac:graphicFrameMk id="11" creationId="{E488BF13-15BA-4677-9888-A602E53FD223}"/>
          </ac:graphicFrameMkLst>
        </pc:graphicFrameChg>
        <pc:graphicFrameChg chg="add mod">
          <ac:chgData name="Michael Schwartz Ravn" userId="5565d94d-4294-429d-97f8-3b887db8e67e" providerId="ADAL" clId="{94051F65-3840-4ACD-89C1-7DEB1362CDE4}" dt="2022-03-31T10:47:23.631" v="91" actId="14100"/>
          <ac:graphicFrameMkLst>
            <pc:docMk/>
            <pc:sldMk cId="2193029723" sldId="2017"/>
            <ac:graphicFrameMk id="12" creationId="{927A24A7-7E7C-441A-A4C0-50BC80B7445D}"/>
          </ac:graphicFrameMkLst>
        </pc:graphicFrameChg>
      </pc:sldChg>
      <pc:sldChg chg="addSp delSp modSp add mod">
        <pc:chgData name="Michael Schwartz Ravn" userId="5565d94d-4294-429d-97f8-3b887db8e67e" providerId="ADAL" clId="{94051F65-3840-4ACD-89C1-7DEB1362CDE4}" dt="2022-03-31T10:46:45.920" v="82" actId="20577"/>
        <pc:sldMkLst>
          <pc:docMk/>
          <pc:sldMk cId="3762885623" sldId="2018"/>
        </pc:sldMkLst>
        <pc:graphicFrameChg chg="del">
          <ac:chgData name="Michael Schwartz Ravn" userId="5565d94d-4294-429d-97f8-3b887db8e67e" providerId="ADAL" clId="{94051F65-3840-4ACD-89C1-7DEB1362CDE4}" dt="2022-03-31T10:44:42.442" v="57" actId="478"/>
          <ac:graphicFrameMkLst>
            <pc:docMk/>
            <pc:sldMk cId="3762885623" sldId="2018"/>
            <ac:graphicFrameMk id="9" creationId="{A15F16E0-AED0-4499-9BD8-F2102AFD46A5}"/>
          </ac:graphicFrameMkLst>
        </pc:graphicFrameChg>
        <pc:graphicFrameChg chg="add mod">
          <ac:chgData name="Michael Schwartz Ravn" userId="5565d94d-4294-429d-97f8-3b887db8e67e" providerId="ADAL" clId="{94051F65-3840-4ACD-89C1-7DEB1362CDE4}" dt="2022-03-31T10:46:45.920" v="82" actId="20577"/>
          <ac:graphicFrameMkLst>
            <pc:docMk/>
            <pc:sldMk cId="3762885623" sldId="2018"/>
            <ac:graphicFrameMk id="12" creationId="{5DD659DA-EBC7-429A-AB36-7D60B6C2E0B1}"/>
          </ac:graphicFrameMkLst>
        </pc:graphicFrameChg>
      </pc:sldChg>
    </pc:docChg>
  </pc:docChgLst>
  <pc:docChgLst>
    <pc:chgData name="Trine Abild" userId="7fef6256-38ec-4f3d-bd91-c4312491dec2" providerId="ADAL" clId="{67347B56-A5C3-49DE-B82F-DB7F31D97DF9}"/>
    <pc:docChg chg="custSel addSld delSld modSld">
      <pc:chgData name="Trine Abild" userId="7fef6256-38ec-4f3d-bd91-c4312491dec2" providerId="ADAL" clId="{67347B56-A5C3-49DE-B82F-DB7F31D97DF9}" dt="2022-03-30T20:08:02.068" v="124" actId="6549"/>
      <pc:docMkLst>
        <pc:docMk/>
      </pc:docMkLst>
      <pc:sldChg chg="modSp mod">
        <pc:chgData name="Trine Abild" userId="7fef6256-38ec-4f3d-bd91-c4312491dec2" providerId="ADAL" clId="{67347B56-A5C3-49DE-B82F-DB7F31D97DF9}" dt="2022-03-30T20:05:08.557" v="78" actId="20577"/>
        <pc:sldMkLst>
          <pc:docMk/>
          <pc:sldMk cId="3797582595" sldId="257"/>
        </pc:sldMkLst>
        <pc:spChg chg="mod">
          <ac:chgData name="Trine Abild" userId="7fef6256-38ec-4f3d-bd91-c4312491dec2" providerId="ADAL" clId="{67347B56-A5C3-49DE-B82F-DB7F31D97DF9}" dt="2022-03-30T20:04:48.600" v="68" actId="20577"/>
          <ac:spMkLst>
            <pc:docMk/>
            <pc:sldMk cId="3797582595" sldId="257"/>
            <ac:spMk id="5" creationId="{8F8B4C64-C8CB-4B60-BC83-3C523DC74A39}"/>
          </ac:spMkLst>
        </pc:spChg>
        <pc:spChg chg="mod">
          <ac:chgData name="Trine Abild" userId="7fef6256-38ec-4f3d-bd91-c4312491dec2" providerId="ADAL" clId="{67347B56-A5C3-49DE-B82F-DB7F31D97DF9}" dt="2022-03-30T20:05:01.540" v="72" actId="6549"/>
          <ac:spMkLst>
            <pc:docMk/>
            <pc:sldMk cId="3797582595" sldId="257"/>
            <ac:spMk id="46" creationId="{66A12414-B26A-46A5-A75B-A01555425B6C}"/>
          </ac:spMkLst>
        </pc:spChg>
        <pc:spChg chg="mod">
          <ac:chgData name="Trine Abild" userId="7fef6256-38ec-4f3d-bd91-c4312491dec2" providerId="ADAL" clId="{67347B56-A5C3-49DE-B82F-DB7F31D97DF9}" dt="2022-03-30T20:05:08.557" v="78" actId="20577"/>
          <ac:spMkLst>
            <pc:docMk/>
            <pc:sldMk cId="3797582595" sldId="257"/>
            <ac:spMk id="47" creationId="{12E3E69E-68B8-4670-B754-A7E3FBDFE8E8}"/>
          </ac:spMkLst>
        </pc:spChg>
      </pc:sldChg>
      <pc:sldChg chg="modSp mod">
        <pc:chgData name="Trine Abild" userId="7fef6256-38ec-4f3d-bd91-c4312491dec2" providerId="ADAL" clId="{67347B56-A5C3-49DE-B82F-DB7F31D97DF9}" dt="2022-03-30T20:05:20.453" v="86" actId="6549"/>
        <pc:sldMkLst>
          <pc:docMk/>
          <pc:sldMk cId="2436750265" sldId="260"/>
        </pc:sldMkLst>
        <pc:spChg chg="mod">
          <ac:chgData name="Trine Abild" userId="7fef6256-38ec-4f3d-bd91-c4312491dec2" providerId="ADAL" clId="{67347B56-A5C3-49DE-B82F-DB7F31D97DF9}" dt="2022-03-30T20:05:20.453" v="86" actId="6549"/>
          <ac:spMkLst>
            <pc:docMk/>
            <pc:sldMk cId="2436750265" sldId="260"/>
            <ac:spMk id="29" creationId="{B854C339-1E7E-42C9-A1E2-868ABD64E2A5}"/>
          </ac:spMkLst>
        </pc:spChg>
      </pc:sldChg>
      <pc:sldChg chg="modSp mod">
        <pc:chgData name="Trine Abild" userId="7fef6256-38ec-4f3d-bd91-c4312491dec2" providerId="ADAL" clId="{67347B56-A5C3-49DE-B82F-DB7F31D97DF9}" dt="2022-03-30T20:05:30.689" v="89" actId="20577"/>
        <pc:sldMkLst>
          <pc:docMk/>
          <pc:sldMk cId="1068534061" sldId="265"/>
        </pc:sldMkLst>
        <pc:spChg chg="mod">
          <ac:chgData name="Trine Abild" userId="7fef6256-38ec-4f3d-bd91-c4312491dec2" providerId="ADAL" clId="{67347B56-A5C3-49DE-B82F-DB7F31D97DF9}" dt="2022-03-30T20:05:30.689" v="89" actId="20577"/>
          <ac:spMkLst>
            <pc:docMk/>
            <pc:sldMk cId="1068534061" sldId="265"/>
            <ac:spMk id="29" creationId="{B854C339-1E7E-42C9-A1E2-868ABD64E2A5}"/>
          </ac:spMkLst>
        </pc:spChg>
      </pc:sldChg>
      <pc:sldChg chg="modSp mod">
        <pc:chgData name="Trine Abild" userId="7fef6256-38ec-4f3d-bd91-c4312491dec2" providerId="ADAL" clId="{67347B56-A5C3-49DE-B82F-DB7F31D97DF9}" dt="2022-03-30T20:05:42.269" v="95" actId="6549"/>
        <pc:sldMkLst>
          <pc:docMk/>
          <pc:sldMk cId="1086837101" sldId="266"/>
        </pc:sldMkLst>
        <pc:spChg chg="mod">
          <ac:chgData name="Trine Abild" userId="7fef6256-38ec-4f3d-bd91-c4312491dec2" providerId="ADAL" clId="{67347B56-A5C3-49DE-B82F-DB7F31D97DF9}" dt="2022-03-30T20:05:42.269" v="95" actId="6549"/>
          <ac:spMkLst>
            <pc:docMk/>
            <pc:sldMk cId="1086837101" sldId="266"/>
            <ac:spMk id="29" creationId="{B854C339-1E7E-42C9-A1E2-868ABD64E2A5}"/>
          </ac:spMkLst>
        </pc:spChg>
      </pc:sldChg>
      <pc:sldChg chg="modSp mod">
        <pc:chgData name="Trine Abild" userId="7fef6256-38ec-4f3d-bd91-c4312491dec2" providerId="ADAL" clId="{67347B56-A5C3-49DE-B82F-DB7F31D97DF9}" dt="2022-03-30T20:05:51.556" v="98" actId="20577"/>
        <pc:sldMkLst>
          <pc:docMk/>
          <pc:sldMk cId="277839785" sldId="267"/>
        </pc:sldMkLst>
        <pc:spChg chg="mod">
          <ac:chgData name="Trine Abild" userId="7fef6256-38ec-4f3d-bd91-c4312491dec2" providerId="ADAL" clId="{67347B56-A5C3-49DE-B82F-DB7F31D97DF9}" dt="2022-03-30T20:05:51.556" v="98" actId="20577"/>
          <ac:spMkLst>
            <pc:docMk/>
            <pc:sldMk cId="277839785" sldId="267"/>
            <ac:spMk id="29" creationId="{B854C339-1E7E-42C9-A1E2-868ABD64E2A5}"/>
          </ac:spMkLst>
        </pc:spChg>
      </pc:sldChg>
      <pc:sldChg chg="modSp mod">
        <pc:chgData name="Trine Abild" userId="7fef6256-38ec-4f3d-bd91-c4312491dec2" providerId="ADAL" clId="{67347B56-A5C3-49DE-B82F-DB7F31D97DF9}" dt="2022-03-30T20:06:00.316" v="99" actId="20577"/>
        <pc:sldMkLst>
          <pc:docMk/>
          <pc:sldMk cId="2900405109" sldId="268"/>
        </pc:sldMkLst>
        <pc:spChg chg="mod">
          <ac:chgData name="Trine Abild" userId="7fef6256-38ec-4f3d-bd91-c4312491dec2" providerId="ADAL" clId="{67347B56-A5C3-49DE-B82F-DB7F31D97DF9}" dt="2022-03-30T20:06:00.316" v="99" actId="20577"/>
          <ac:spMkLst>
            <pc:docMk/>
            <pc:sldMk cId="2900405109" sldId="268"/>
            <ac:spMk id="29" creationId="{B854C339-1E7E-42C9-A1E2-868ABD64E2A5}"/>
          </ac:spMkLst>
        </pc:spChg>
      </pc:sldChg>
      <pc:sldChg chg="modSp mod">
        <pc:chgData name="Trine Abild" userId="7fef6256-38ec-4f3d-bd91-c4312491dec2" providerId="ADAL" clId="{67347B56-A5C3-49DE-B82F-DB7F31D97DF9}" dt="2022-03-30T20:06:12.187" v="100" actId="20577"/>
        <pc:sldMkLst>
          <pc:docMk/>
          <pc:sldMk cId="4120853431" sldId="336"/>
        </pc:sldMkLst>
        <pc:spChg chg="mod">
          <ac:chgData name="Trine Abild" userId="7fef6256-38ec-4f3d-bd91-c4312491dec2" providerId="ADAL" clId="{67347B56-A5C3-49DE-B82F-DB7F31D97DF9}" dt="2022-03-30T20:06:12.187" v="100" actId="20577"/>
          <ac:spMkLst>
            <pc:docMk/>
            <pc:sldMk cId="4120853431" sldId="336"/>
            <ac:spMk id="63" creationId="{0BC4FE25-2F1F-4C65-9F2C-C41299D1BD5C}"/>
          </ac:spMkLst>
        </pc:spChg>
      </pc:sldChg>
      <pc:sldChg chg="modSp mod">
        <pc:chgData name="Trine Abild" userId="7fef6256-38ec-4f3d-bd91-c4312491dec2" providerId="ADAL" clId="{67347B56-A5C3-49DE-B82F-DB7F31D97DF9}" dt="2022-03-30T20:06:34.242" v="116" actId="20577"/>
        <pc:sldMkLst>
          <pc:docMk/>
          <pc:sldMk cId="1550473896" sldId="1404"/>
        </pc:sldMkLst>
        <pc:spChg chg="mod">
          <ac:chgData name="Trine Abild" userId="7fef6256-38ec-4f3d-bd91-c4312491dec2" providerId="ADAL" clId="{67347B56-A5C3-49DE-B82F-DB7F31D97DF9}" dt="2022-03-30T20:06:34.242" v="116" actId="20577"/>
          <ac:spMkLst>
            <pc:docMk/>
            <pc:sldMk cId="1550473896" sldId="1404"/>
            <ac:spMk id="51" creationId="{BEC5D264-EB40-4DAA-9655-E2078E7138D4}"/>
          </ac:spMkLst>
        </pc:spChg>
      </pc:sldChg>
      <pc:sldChg chg="modSp mod">
        <pc:chgData name="Trine Abild" userId="7fef6256-38ec-4f3d-bd91-c4312491dec2" providerId="ADAL" clId="{67347B56-A5C3-49DE-B82F-DB7F31D97DF9}" dt="2022-03-30T20:06:42.672" v="117" actId="20577"/>
        <pc:sldMkLst>
          <pc:docMk/>
          <pc:sldMk cId="3331464534" sldId="1406"/>
        </pc:sldMkLst>
        <pc:spChg chg="mod">
          <ac:chgData name="Trine Abild" userId="7fef6256-38ec-4f3d-bd91-c4312491dec2" providerId="ADAL" clId="{67347B56-A5C3-49DE-B82F-DB7F31D97DF9}" dt="2022-03-30T20:06:42.672" v="117" actId="20577"/>
          <ac:spMkLst>
            <pc:docMk/>
            <pc:sldMk cId="3331464534" sldId="1406"/>
            <ac:spMk id="51" creationId="{BEC5D264-EB40-4DAA-9655-E2078E7138D4}"/>
          </ac:spMkLst>
        </pc:spChg>
      </pc:sldChg>
      <pc:sldChg chg="modSp mod">
        <pc:chgData name="Trine Abild" userId="7fef6256-38ec-4f3d-bd91-c4312491dec2" providerId="ADAL" clId="{67347B56-A5C3-49DE-B82F-DB7F31D97DF9}" dt="2022-03-30T20:06:55.210" v="120" actId="6549"/>
        <pc:sldMkLst>
          <pc:docMk/>
          <pc:sldMk cId="47518934" sldId="1407"/>
        </pc:sldMkLst>
        <pc:spChg chg="mod">
          <ac:chgData name="Trine Abild" userId="7fef6256-38ec-4f3d-bd91-c4312491dec2" providerId="ADAL" clId="{67347B56-A5C3-49DE-B82F-DB7F31D97DF9}" dt="2022-03-30T20:06:52.512" v="118" actId="20577"/>
          <ac:spMkLst>
            <pc:docMk/>
            <pc:sldMk cId="47518934" sldId="1407"/>
            <ac:spMk id="28" creationId="{76DE56F2-A4F7-46A7-B6C3-172AE21AC75A}"/>
          </ac:spMkLst>
        </pc:spChg>
        <pc:spChg chg="mod">
          <ac:chgData name="Trine Abild" userId="7fef6256-38ec-4f3d-bd91-c4312491dec2" providerId="ADAL" clId="{67347B56-A5C3-49DE-B82F-DB7F31D97DF9}" dt="2022-03-30T20:06:55.210" v="120" actId="6549"/>
          <ac:spMkLst>
            <pc:docMk/>
            <pc:sldMk cId="47518934" sldId="1407"/>
            <ac:spMk id="51" creationId="{BEC5D264-EB40-4DAA-9655-E2078E7138D4}"/>
          </ac:spMkLst>
        </pc:spChg>
      </pc:sldChg>
      <pc:sldChg chg="modSp mod modNotesTx">
        <pc:chgData name="Trine Abild" userId="7fef6256-38ec-4f3d-bd91-c4312491dec2" providerId="ADAL" clId="{67347B56-A5C3-49DE-B82F-DB7F31D97DF9}" dt="2022-03-30T20:07:55.331" v="123" actId="6549"/>
        <pc:sldMkLst>
          <pc:docMk/>
          <pc:sldMk cId="2283618284" sldId="1993"/>
        </pc:sldMkLst>
        <pc:spChg chg="mod">
          <ac:chgData name="Trine Abild" userId="7fef6256-38ec-4f3d-bd91-c4312491dec2" providerId="ADAL" clId="{67347B56-A5C3-49DE-B82F-DB7F31D97DF9}" dt="2022-03-30T19:54:06.094" v="13" actId="14100"/>
          <ac:spMkLst>
            <pc:docMk/>
            <pc:sldMk cId="2283618284" sldId="1993"/>
            <ac:spMk id="11" creationId="{00385DE9-EC25-4734-A029-5E74A9C63D19}"/>
          </ac:spMkLst>
        </pc:spChg>
      </pc:sldChg>
      <pc:sldChg chg="modSp mod modNotesTx">
        <pc:chgData name="Trine Abild" userId="7fef6256-38ec-4f3d-bd91-c4312491dec2" providerId="ADAL" clId="{67347B56-A5C3-49DE-B82F-DB7F31D97DF9}" dt="2022-03-30T20:07:50.462" v="122" actId="6549"/>
        <pc:sldMkLst>
          <pc:docMk/>
          <pc:sldMk cId="1920748826" sldId="1994"/>
        </pc:sldMkLst>
        <pc:spChg chg="mod">
          <ac:chgData name="Trine Abild" userId="7fef6256-38ec-4f3d-bd91-c4312491dec2" providerId="ADAL" clId="{67347B56-A5C3-49DE-B82F-DB7F31D97DF9}" dt="2022-03-30T19:54:27.960" v="25" actId="6549"/>
          <ac:spMkLst>
            <pc:docMk/>
            <pc:sldMk cId="1920748826" sldId="1994"/>
            <ac:spMk id="18" creationId="{9C63A88D-3415-43C2-96E2-6EDC3F5CA50F}"/>
          </ac:spMkLst>
        </pc:spChg>
      </pc:sldChg>
      <pc:sldChg chg="modSp mod modNotesTx">
        <pc:chgData name="Trine Abild" userId="7fef6256-38ec-4f3d-bd91-c4312491dec2" providerId="ADAL" clId="{67347B56-A5C3-49DE-B82F-DB7F31D97DF9}" dt="2022-03-30T20:07:43.641" v="121" actId="6549"/>
        <pc:sldMkLst>
          <pc:docMk/>
          <pc:sldMk cId="2192816201" sldId="1995"/>
        </pc:sldMkLst>
        <pc:spChg chg="mod">
          <ac:chgData name="Trine Abild" userId="7fef6256-38ec-4f3d-bd91-c4312491dec2" providerId="ADAL" clId="{67347B56-A5C3-49DE-B82F-DB7F31D97DF9}" dt="2022-03-30T19:54:45.373" v="30" actId="313"/>
          <ac:spMkLst>
            <pc:docMk/>
            <pc:sldMk cId="2192816201" sldId="1995"/>
            <ac:spMk id="8" creationId="{F43348C9-523B-49AD-A309-AD6EF49E1CDB}"/>
          </ac:spMkLst>
        </pc:spChg>
        <pc:spChg chg="mod">
          <ac:chgData name="Trine Abild" userId="7fef6256-38ec-4f3d-bd91-c4312491dec2" providerId="ADAL" clId="{67347B56-A5C3-49DE-B82F-DB7F31D97DF9}" dt="2022-03-30T19:55:11.785" v="31" actId="255"/>
          <ac:spMkLst>
            <pc:docMk/>
            <pc:sldMk cId="2192816201" sldId="1995"/>
            <ac:spMk id="13" creationId="{762A1E50-A958-4056-99A7-23D709F19504}"/>
          </ac:spMkLst>
        </pc:spChg>
        <pc:graphicFrameChg chg="mod">
          <ac:chgData name="Trine Abild" userId="7fef6256-38ec-4f3d-bd91-c4312491dec2" providerId="ADAL" clId="{67347B56-A5C3-49DE-B82F-DB7F31D97DF9}" dt="2022-03-30T20:03:05.472" v="65"/>
          <ac:graphicFrameMkLst>
            <pc:docMk/>
            <pc:sldMk cId="2192816201" sldId="1995"/>
            <ac:graphicFrameMk id="9" creationId="{A15F16E0-AED0-4499-9BD8-F2102AFD46A5}"/>
          </ac:graphicFrameMkLst>
        </pc:graphicFrameChg>
      </pc:sldChg>
      <pc:sldChg chg="modSp mod">
        <pc:chgData name="Trine Abild" userId="7fef6256-38ec-4f3d-bd91-c4312491dec2" providerId="ADAL" clId="{67347B56-A5C3-49DE-B82F-DB7F31D97DF9}" dt="2022-03-30T20:00:15.592" v="54" actId="113"/>
        <pc:sldMkLst>
          <pc:docMk/>
          <pc:sldMk cId="3684303799" sldId="1998"/>
        </pc:sldMkLst>
        <pc:spChg chg="mod">
          <ac:chgData name="Trine Abild" userId="7fef6256-38ec-4f3d-bd91-c4312491dec2" providerId="ADAL" clId="{67347B56-A5C3-49DE-B82F-DB7F31D97DF9}" dt="2022-03-30T20:00:15.592" v="54" actId="113"/>
          <ac:spMkLst>
            <pc:docMk/>
            <pc:sldMk cId="3684303799" sldId="1998"/>
            <ac:spMk id="3" creationId="{6098B3C9-E777-4180-9639-D75548054F4C}"/>
          </ac:spMkLst>
        </pc:spChg>
      </pc:sldChg>
      <pc:sldChg chg="modSp mod delCm">
        <pc:chgData name="Trine Abild" userId="7fef6256-38ec-4f3d-bd91-c4312491dec2" providerId="ADAL" clId="{67347B56-A5C3-49DE-B82F-DB7F31D97DF9}" dt="2022-03-30T20:01:22.028" v="63" actId="1592"/>
        <pc:sldMkLst>
          <pc:docMk/>
          <pc:sldMk cId="3617421083" sldId="2000"/>
        </pc:sldMkLst>
        <pc:spChg chg="mod">
          <ac:chgData name="Trine Abild" userId="7fef6256-38ec-4f3d-bd91-c4312491dec2" providerId="ADAL" clId="{67347B56-A5C3-49DE-B82F-DB7F31D97DF9}" dt="2022-03-30T20:01:06.183" v="62" actId="14100"/>
          <ac:spMkLst>
            <pc:docMk/>
            <pc:sldMk cId="3617421083" sldId="2000"/>
            <ac:spMk id="24" creationId="{AFB0A79D-C1EC-4FA9-B284-6DD992DD0238}"/>
          </ac:spMkLst>
        </pc:spChg>
      </pc:sldChg>
      <pc:sldChg chg="modSp mod modNotesTx">
        <pc:chgData name="Trine Abild" userId="7fef6256-38ec-4f3d-bd91-c4312491dec2" providerId="ADAL" clId="{67347B56-A5C3-49DE-B82F-DB7F31D97DF9}" dt="2022-03-30T20:08:02.068" v="124" actId="6549"/>
        <pc:sldMkLst>
          <pc:docMk/>
          <pc:sldMk cId="478197846" sldId="2001"/>
        </pc:sldMkLst>
        <pc:spChg chg="mod">
          <ac:chgData name="Trine Abild" userId="7fef6256-38ec-4f3d-bd91-c4312491dec2" providerId="ADAL" clId="{67347B56-A5C3-49DE-B82F-DB7F31D97DF9}" dt="2022-03-30T20:04:06.852" v="67" actId="113"/>
          <ac:spMkLst>
            <pc:docMk/>
            <pc:sldMk cId="478197846" sldId="2001"/>
            <ac:spMk id="31" creationId="{1DB03DBF-9199-4CF6-B15A-806FA3B24D79}"/>
          </ac:spMkLst>
        </pc:spChg>
        <pc:spChg chg="mod">
          <ac:chgData name="Trine Abild" userId="7fef6256-38ec-4f3d-bd91-c4312491dec2" providerId="ADAL" clId="{67347B56-A5C3-49DE-B82F-DB7F31D97DF9}" dt="2022-03-30T20:03:58.476" v="66" actId="20577"/>
          <ac:spMkLst>
            <pc:docMk/>
            <pc:sldMk cId="478197846" sldId="2001"/>
            <ac:spMk id="48" creationId="{508FD7A1-2E3C-4DAB-AE75-60C6EE54A48D}"/>
          </ac:spMkLst>
        </pc:spChg>
      </pc:sldChg>
      <pc:sldChg chg="delSp modSp mod modNotesTx">
        <pc:chgData name="Trine Abild" userId="7fef6256-38ec-4f3d-bd91-c4312491dec2" providerId="ADAL" clId="{67347B56-A5C3-49DE-B82F-DB7F31D97DF9}" dt="2022-03-30T20:01:40.414" v="64" actId="20577"/>
        <pc:sldMkLst>
          <pc:docMk/>
          <pc:sldMk cId="3826074378" sldId="2003"/>
        </pc:sldMkLst>
        <pc:spChg chg="mod">
          <ac:chgData name="Trine Abild" userId="7fef6256-38ec-4f3d-bd91-c4312491dec2" providerId="ADAL" clId="{67347B56-A5C3-49DE-B82F-DB7F31D97DF9}" dt="2022-03-30T20:01:40.414" v="64" actId="20577"/>
          <ac:spMkLst>
            <pc:docMk/>
            <pc:sldMk cId="3826074378" sldId="2003"/>
            <ac:spMk id="3" creationId="{B6B03C0A-49AD-4246-B1AB-A478CCD0DEBD}"/>
          </ac:spMkLst>
        </pc:spChg>
        <pc:spChg chg="del">
          <ac:chgData name="Trine Abild" userId="7fef6256-38ec-4f3d-bd91-c4312491dec2" providerId="ADAL" clId="{67347B56-A5C3-49DE-B82F-DB7F31D97DF9}" dt="2022-03-30T19:52:22.939" v="7" actId="478"/>
          <ac:spMkLst>
            <pc:docMk/>
            <pc:sldMk cId="3826074378" sldId="2003"/>
            <ac:spMk id="4" creationId="{35EF48C4-155A-4DCC-A541-AB71F1F5882B}"/>
          </ac:spMkLst>
        </pc:spChg>
      </pc:sldChg>
      <pc:sldChg chg="del">
        <pc:chgData name="Trine Abild" userId="7fef6256-38ec-4f3d-bd91-c4312491dec2" providerId="ADAL" clId="{67347B56-A5C3-49DE-B82F-DB7F31D97DF9}" dt="2022-03-30T19:48:21.088" v="2" actId="47"/>
        <pc:sldMkLst>
          <pc:docMk/>
          <pc:sldMk cId="1488812070" sldId="2005"/>
        </pc:sldMkLst>
      </pc:sldChg>
      <pc:sldChg chg="del">
        <pc:chgData name="Trine Abild" userId="7fef6256-38ec-4f3d-bd91-c4312491dec2" providerId="ADAL" clId="{67347B56-A5C3-49DE-B82F-DB7F31D97DF9}" dt="2022-03-30T19:48:18.698" v="1" actId="47"/>
        <pc:sldMkLst>
          <pc:docMk/>
          <pc:sldMk cId="3052027063" sldId="2006"/>
        </pc:sldMkLst>
      </pc:sldChg>
      <pc:sldChg chg="del">
        <pc:chgData name="Trine Abild" userId="7fef6256-38ec-4f3d-bd91-c4312491dec2" providerId="ADAL" clId="{67347B56-A5C3-49DE-B82F-DB7F31D97DF9}" dt="2022-03-30T19:48:23.740" v="3" actId="47"/>
        <pc:sldMkLst>
          <pc:docMk/>
          <pc:sldMk cId="823962185" sldId="2008"/>
        </pc:sldMkLst>
      </pc:sldChg>
      <pc:sldChg chg="del">
        <pc:chgData name="Trine Abild" userId="7fef6256-38ec-4f3d-bd91-c4312491dec2" providerId="ADAL" clId="{67347B56-A5C3-49DE-B82F-DB7F31D97DF9}" dt="2022-03-30T19:48:17.563" v="0" actId="47"/>
        <pc:sldMkLst>
          <pc:docMk/>
          <pc:sldMk cId="1851140271" sldId="2009"/>
        </pc:sldMkLst>
      </pc:sldChg>
      <pc:sldChg chg="modSp mod">
        <pc:chgData name="Trine Abild" userId="7fef6256-38ec-4f3d-bd91-c4312491dec2" providerId="ADAL" clId="{67347B56-A5C3-49DE-B82F-DB7F31D97DF9}" dt="2022-03-30T19:59:25.230" v="37" actId="20577"/>
        <pc:sldMkLst>
          <pc:docMk/>
          <pc:sldMk cId="865835921" sldId="2010"/>
        </pc:sldMkLst>
        <pc:spChg chg="mod">
          <ac:chgData name="Trine Abild" userId="7fef6256-38ec-4f3d-bd91-c4312491dec2" providerId="ADAL" clId="{67347B56-A5C3-49DE-B82F-DB7F31D97DF9}" dt="2022-03-30T19:59:25.230" v="37" actId="20577"/>
          <ac:spMkLst>
            <pc:docMk/>
            <pc:sldMk cId="865835921" sldId="2010"/>
            <ac:spMk id="9" creationId="{2AB3C4CD-742B-425A-9EBE-4908F10EE288}"/>
          </ac:spMkLst>
        </pc:spChg>
      </pc:sldChg>
      <pc:sldChg chg="del">
        <pc:chgData name="Trine Abild" userId="7fef6256-38ec-4f3d-bd91-c4312491dec2" providerId="ADAL" clId="{67347B56-A5C3-49DE-B82F-DB7F31D97DF9}" dt="2022-03-30T19:52:05.581" v="6" actId="47"/>
        <pc:sldMkLst>
          <pc:docMk/>
          <pc:sldMk cId="1365855519" sldId="2013"/>
        </pc:sldMkLst>
      </pc:sldChg>
      <pc:sldChg chg="del">
        <pc:chgData name="Trine Abild" userId="7fef6256-38ec-4f3d-bd91-c4312491dec2" providerId="ADAL" clId="{67347B56-A5C3-49DE-B82F-DB7F31D97DF9}" dt="2022-03-30T19:52:03.648" v="5" actId="47"/>
        <pc:sldMkLst>
          <pc:docMk/>
          <pc:sldMk cId="969773709" sldId="2014"/>
        </pc:sldMkLst>
      </pc:sldChg>
      <pc:sldChg chg="new">
        <pc:chgData name="Trine Abild" userId="7fef6256-38ec-4f3d-bd91-c4312491dec2" providerId="ADAL" clId="{67347B56-A5C3-49DE-B82F-DB7F31D97DF9}" dt="2022-03-30T19:48:54.334" v="4" actId="680"/>
        <pc:sldMkLst>
          <pc:docMk/>
          <pc:sldMk cId="2724967044" sldId="201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https://ramboll-my.sharepoint.com/personal/misr_ramboll_com/Documents/Kortl&#230;gning%20af%20testfaciliteter_ny/2.%20Fase%20-%20Dataindsamling%20og%20udvikling/5.%20Kortl&#230;gning_data%20p&#229;%20faciliteter/Analyse/Analyse_kortl&#230;gning_v8%20(09-03-22)_ENDELIG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https://ramboll-my.sharepoint.com/personal/misr_ramboll_com/Documents/Kortl&#230;gning%20af%20testfaciliteter_ny/2.%20Fase%20-%20Dataindsamling%20og%20udvikling/5.%20Kortl&#230;gning_data%20p&#229;%20faciliteter/Analyse/Analyse_kortl&#230;gning_v8%20(09-03-22)_ENDELIG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https://ramboll-my.sharepoint.com/personal/misr_ramboll_com/Documents/Kortl&#230;gning%20af%20testfaciliteter_ny/2.%20Fase%20-%20Dataindsamling%20og%20udvikling/5.%20Kortl&#230;gning_data%20p&#229;%20faciliteter/Analyse/Analyse_kortl&#230;gning_v8%20(09-03-22)_ENDELIG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732998046918285E-3"/>
          <c:y val="5.3527980535279802E-2"/>
          <c:w val="0.99202670019530814"/>
          <c:h val="0.7078922169647771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8D3-4715-824B-C10EEA43983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F9E456E3-F9F6-469E-AD4F-9ACF255CB596}" type="VALUE">
                      <a:rPr lang="en-US"/>
                      <a:pPr/>
                      <a:t>[VALUE]</a:t>
                    </a:fld>
                    <a:r>
                      <a:rPr lang="en-US" dirty="0"/>
                      <a:t> (42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8D3-4715-824B-C10EEA43983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36F18B0-4FC8-4512-965A-18CF15B87387}" type="VALUE">
                      <a:rPr lang="en-US"/>
                      <a:pPr/>
                      <a:t>[VALUE]</a:t>
                    </a:fld>
                    <a:r>
                      <a:rPr lang="en-US" dirty="0"/>
                      <a:t> (38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8D3-4715-824B-C10EEA43983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3652C4A-E92B-45CC-B391-86E1958D7BA6}" type="VALUE">
                      <a:rPr lang="en-US"/>
                      <a:pPr/>
                      <a:t>[VALUE]</a:t>
                    </a:fld>
                    <a:r>
                      <a:rPr lang="en-US"/>
                      <a:t> (8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08D3-4715-824B-C10EEA43983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3799CD7-2EB1-4DF0-9DEF-9C2E8ED911D8}" type="VALUE">
                      <a:rPr lang="en-US"/>
                      <a:pPr/>
                      <a:t>[VALUE]</a:t>
                    </a:fld>
                    <a:r>
                      <a:rPr lang="en-US"/>
                      <a:t> (4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8D3-4715-824B-C10EEA43983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189878E-9EF1-4BD4-B3A1-BD00588C84F7}" type="VALUE">
                      <a:rPr lang="en-US"/>
                      <a:pPr/>
                      <a:t>[VALUE]</a:t>
                    </a:fld>
                    <a:r>
                      <a:rPr lang="en-US"/>
                      <a:t> (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08D3-4715-824B-C10EEA43983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AB6676DD-0F48-41AE-8C81-2F9790DDFFD7}" type="VALUE">
                      <a:rPr lang="en-US"/>
                      <a:pPr/>
                      <a:t>[VALUE]</a:t>
                    </a:fld>
                    <a:r>
                      <a:rPr lang="en-US" dirty="0"/>
                      <a:t> (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08D3-4715-824B-C10EEA43983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86985F6-1839-4702-B23E-E52684EC2CCB}" type="VALUE">
                      <a:rPr lang="en-US"/>
                      <a:pPr/>
                      <a:t>[VALUE]</a:t>
                    </a:fld>
                    <a:r>
                      <a:rPr lang="en-US" dirty="0"/>
                      <a:t> (2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08D3-4715-824B-C10EEA43983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E25EAD43-23BF-4A1E-A289-8B20D1E68A6E}" type="VALUE">
                      <a:rPr lang="en-US"/>
                      <a:pPr/>
                      <a:t>[VALUE]</a:t>
                    </a:fld>
                    <a:r>
                      <a:rPr lang="en-US"/>
                      <a:t> (2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8D3-4715-824B-C10EEA4398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G$18:$G$25</c:f>
              <c:strCache>
                <c:ptCount val="8"/>
                <c:pt idx="0">
                  <c:v>Universitet eller andet vidensinstitut</c:v>
                </c:pt>
                <c:pt idx="1">
                  <c:v>GTS-institut</c:v>
                </c:pt>
                <c:pt idx="2">
                  <c:v>Privat virksomhed eller erhvervsdrivende forening</c:v>
                </c:pt>
                <c:pt idx="3">
                  <c:v>NGO eller forening</c:v>
                </c:pt>
                <c:pt idx="4">
                  <c:v>Hospital eller region</c:v>
                </c:pt>
                <c:pt idx="5">
                  <c:v>Kommuner eller kommunalt ejede selskaber</c:v>
                </c:pt>
                <c:pt idx="6">
                  <c:v>Forsyningsvirksomhed</c:v>
                </c:pt>
                <c:pt idx="7">
                  <c:v>Andet</c:v>
                </c:pt>
              </c:strCache>
            </c:strRef>
          </c:cat>
          <c:val>
            <c:numRef>
              <c:f>Analyse!$H$18:$H$25</c:f>
              <c:numCache>
                <c:formatCode>General</c:formatCode>
                <c:ptCount val="8"/>
                <c:pt idx="0">
                  <c:v>165</c:v>
                </c:pt>
                <c:pt idx="1">
                  <c:v>149</c:v>
                </c:pt>
                <c:pt idx="2">
                  <c:v>32</c:v>
                </c:pt>
                <c:pt idx="3">
                  <c:v>15</c:v>
                </c:pt>
                <c:pt idx="4">
                  <c:v>13</c:v>
                </c:pt>
                <c:pt idx="5">
                  <c:v>11</c:v>
                </c:pt>
                <c:pt idx="6">
                  <c:v>6</c:v>
                </c:pt>
                <c:pt idx="7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70D-42B8-8459-453C8C42DEE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-27"/>
        <c:axId val="887525048"/>
        <c:axId val="887526032"/>
      </c:barChart>
      <c:catAx>
        <c:axId val="887525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887526032"/>
        <c:crosses val="autoZero"/>
        <c:auto val="1"/>
        <c:lblAlgn val="ctr"/>
        <c:lblOffset val="100"/>
        <c:noMultiLvlLbl val="0"/>
      </c:catAx>
      <c:valAx>
        <c:axId val="887526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87525048"/>
        <c:crosses val="autoZero"/>
        <c:crossBetween val="between"/>
      </c:valAx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solidFill>
            <a:sysClr val="windowText" lastClr="000000"/>
          </a:solidFill>
        </a:defRPr>
      </a:pPr>
      <a:endParaRPr lang="da-DK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279316667314598E-3"/>
          <c:y val="4.8661857862955737E-2"/>
          <c:w val="0.98552883556283732"/>
          <c:h val="0.519565322975921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Analyse!$H$64</c:f>
              <c:strCache>
                <c:ptCount val="1"/>
                <c:pt idx="0">
                  <c:v>Antal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G$65:$G$81</c:f>
              <c:strCache>
                <c:ptCount val="17"/>
                <c:pt idx="0">
                  <c:v>Energi</c:v>
                </c:pt>
                <c:pt idx="1">
                  <c:v>Industriproduktion</c:v>
                </c:pt>
                <c:pt idx="2">
                  <c:v>Miljø</c:v>
                </c:pt>
                <c:pt idx="3">
                  <c:v>Health Science</c:v>
                </c:pt>
                <c:pt idx="4">
                  <c:v>Life Science og velfærdsteknologi</c:v>
                </c:pt>
                <c:pt idx="5">
                  <c:v>Byggeri og anlæg</c:v>
                </c:pt>
                <c:pt idx="6">
                  <c:v>Fødevarer og bioressourcer</c:v>
                </c:pt>
                <c:pt idx="7">
                  <c:v>Digitale teknologier</c:v>
                </c:pt>
                <c:pt idx="8">
                  <c:v>Forsvar, rum og sikkerhed</c:v>
                </c:pt>
                <c:pt idx="9">
                  <c:v>Maritime erhverv og logistik</c:v>
                </c:pt>
                <c:pt idx="10">
                  <c:v>Vand</c:v>
                </c:pt>
                <c:pt idx="11">
                  <c:v>Robotteknologi</c:v>
                </c:pt>
                <c:pt idx="12">
                  <c:v>Lydteknologi</c:v>
                </c:pt>
                <c:pt idx="13">
                  <c:v>Design, mode og møbler</c:v>
                </c:pt>
                <c:pt idx="14">
                  <c:v>Animation, spil, film og reality teknologi</c:v>
                </c:pt>
                <c:pt idx="15">
                  <c:v>Finans og fintech</c:v>
                </c:pt>
                <c:pt idx="16">
                  <c:v>Turisme</c:v>
                </c:pt>
              </c:strCache>
            </c:strRef>
          </c:cat>
          <c:val>
            <c:numRef>
              <c:f>Analyse!$H$65:$H$81</c:f>
              <c:numCache>
                <c:formatCode>General</c:formatCode>
                <c:ptCount val="17"/>
                <c:pt idx="0">
                  <c:v>219</c:v>
                </c:pt>
                <c:pt idx="1">
                  <c:v>178</c:v>
                </c:pt>
                <c:pt idx="2">
                  <c:v>165</c:v>
                </c:pt>
                <c:pt idx="3">
                  <c:v>148</c:v>
                </c:pt>
                <c:pt idx="4">
                  <c:v>142</c:v>
                </c:pt>
                <c:pt idx="5">
                  <c:v>141</c:v>
                </c:pt>
                <c:pt idx="6">
                  <c:v>128</c:v>
                </c:pt>
                <c:pt idx="7">
                  <c:v>118</c:v>
                </c:pt>
                <c:pt idx="8">
                  <c:v>102</c:v>
                </c:pt>
                <c:pt idx="9">
                  <c:v>85</c:v>
                </c:pt>
                <c:pt idx="10">
                  <c:v>78</c:v>
                </c:pt>
                <c:pt idx="11">
                  <c:v>71</c:v>
                </c:pt>
                <c:pt idx="12">
                  <c:v>53</c:v>
                </c:pt>
                <c:pt idx="13">
                  <c:v>43</c:v>
                </c:pt>
                <c:pt idx="14">
                  <c:v>30</c:v>
                </c:pt>
                <c:pt idx="15">
                  <c:v>23</c:v>
                </c:pt>
                <c:pt idx="16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E2-42ED-8998-B652BDA2127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-27"/>
        <c:axId val="887525048"/>
        <c:axId val="887526032"/>
      </c:barChart>
      <c:catAx>
        <c:axId val="887525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887526032"/>
        <c:crosses val="autoZero"/>
        <c:auto val="1"/>
        <c:lblAlgn val="ctr"/>
        <c:lblOffset val="100"/>
        <c:noMultiLvlLbl val="0"/>
      </c:catAx>
      <c:valAx>
        <c:axId val="887526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87525048"/>
        <c:crosses val="autoZero"/>
        <c:crossBetween val="between"/>
      </c:valAx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800">
          <a:solidFill>
            <a:sysClr val="windowText" lastClr="000000"/>
          </a:solidFill>
        </a:defRPr>
      </a:pPr>
      <a:endParaRPr lang="da-DK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934648655251029E-3"/>
          <c:y val="0.10879566164723767"/>
          <c:w val="0.9952065384623664"/>
          <c:h val="0.7434392781194321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4E3D686-EEFF-4821-9AEC-077CB57E21AA}" type="VALUE">
                      <a:rPr lang="en-US"/>
                      <a:pPr/>
                      <a:t>[VALUE]</a:t>
                    </a:fld>
                    <a:r>
                      <a:rPr lang="en-US" dirty="0"/>
                      <a:t> (72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515F-413C-A8B1-8D434769BE1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48858C7-1A57-4FA6-AB29-F2B22362D7E0}" type="VALUE">
                      <a:rPr lang="en-US"/>
                      <a:pPr/>
                      <a:t>[VALUE]</a:t>
                    </a:fld>
                    <a:r>
                      <a:rPr lang="en-US" dirty="0"/>
                      <a:t> (34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15F-413C-A8B1-8D434769BE1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FA6310A-D55B-4473-AB3F-66DE196E336C}" type="VALUE">
                      <a:rPr lang="en-US"/>
                      <a:pPr/>
                      <a:t>[VALUE]</a:t>
                    </a:fld>
                    <a:r>
                      <a:rPr lang="en-US" dirty="0"/>
                      <a:t> (31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515F-413C-A8B1-8D434769BE1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5F1E939-33D4-4FB0-9B10-F4B2649670B9}" type="VALUE">
                      <a:rPr lang="en-US"/>
                      <a:pPr/>
                      <a:t>[VALUE]</a:t>
                    </a:fld>
                    <a:r>
                      <a:rPr lang="en-US"/>
                      <a:t> (2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15F-413C-A8B1-8D434769BE1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FE63A26E-178E-4622-B511-EEFC1C847BA1}" type="VALUE">
                      <a:rPr lang="en-US"/>
                      <a:pPr/>
                      <a:t>[VALUE]</a:t>
                    </a:fld>
                    <a:r>
                      <a:rPr lang="en-US" dirty="0"/>
                      <a:t> (14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15F-413C-A8B1-8D434769BE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nalyse!$F$45:$F$49</c:f>
              <c:strCache>
                <c:ptCount val="5"/>
                <c:pt idx="0">
                  <c:v>Laboratorie </c:v>
                </c:pt>
                <c:pt idx="1">
                  <c:v>Certificering og dokumentation </c:v>
                </c:pt>
                <c:pt idx="2">
                  <c:v>Real world miljø </c:v>
                </c:pt>
                <c:pt idx="3">
                  <c:v>Konstrueret miljø herunder simulering</c:v>
                </c:pt>
                <c:pt idx="4">
                  <c:v>Datamiljø herunder computerkapacitet og databaser </c:v>
                </c:pt>
              </c:strCache>
            </c:strRef>
          </c:cat>
          <c:val>
            <c:numRef>
              <c:f>Analyse!$G$45:$G$49</c:f>
              <c:numCache>
                <c:formatCode>General</c:formatCode>
                <c:ptCount val="5"/>
                <c:pt idx="0">
                  <c:v>284</c:v>
                </c:pt>
                <c:pt idx="1">
                  <c:v>136</c:v>
                </c:pt>
                <c:pt idx="2">
                  <c:v>125</c:v>
                </c:pt>
                <c:pt idx="3">
                  <c:v>92</c:v>
                </c:pt>
                <c:pt idx="4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15F-413C-A8B1-8D434769BE1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-27"/>
        <c:axId val="887525048"/>
        <c:axId val="887526032"/>
      </c:barChart>
      <c:catAx>
        <c:axId val="887525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da-DK"/>
          </a:p>
        </c:txPr>
        <c:crossAx val="887526032"/>
        <c:crosses val="autoZero"/>
        <c:auto val="1"/>
        <c:lblAlgn val="ctr"/>
        <c:lblOffset val="100"/>
        <c:noMultiLvlLbl val="0"/>
      </c:catAx>
      <c:valAx>
        <c:axId val="887526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87525048"/>
        <c:crosses val="autoZero"/>
        <c:crossBetween val="between"/>
      </c:valAx>
    </c:plotArea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 sz="800">
          <a:solidFill>
            <a:sysClr val="windowText" lastClr="000000"/>
          </a:solidFill>
        </a:defRPr>
      </a:pPr>
      <a:endParaRPr lang="da-DK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A97F37-83DC-4801-ABF3-77E428CB7DE8}" type="datetimeFigureOut">
              <a:rPr lang="da-DK" smtClean="0"/>
              <a:t>31-03-2022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22CB49-4B04-4626-B72D-43EF4E2B90B9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17685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1F2F6E2-CA2D-40A7-8BE4-C30E5CF2054D}" type="slidenum">
              <a:rPr kumimoji="0" lang="en-GB" sz="1200" b="0" i="0" u="none" strike="noStrike" kern="1200" cap="none" spc="-5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itchFamily="34" charset="0"/>
              </a:rPr>
              <a:pPr marL="0" marR="0" lvl="0" indent="0" algn="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</a:t>
            </a:fld>
            <a:endParaRPr kumimoji="0" lang="en-GB" sz="1200" b="0" i="0" u="none" strike="noStrike" kern="1200" cap="none" spc="-5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68433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1F2F6E2-CA2D-40A7-8BE4-C30E5CF2054D}" type="slidenum">
              <a:rPr kumimoji="0" lang="en-GB" sz="1200" b="0" i="0" u="none" strike="noStrike" kern="1200" cap="none" spc="-5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itchFamily="34" charset="0"/>
              </a:rPr>
              <a:pPr marL="0" marR="0" lvl="0" indent="0" algn="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0</a:t>
            </a:fld>
            <a:endParaRPr kumimoji="0" lang="en-GB" sz="1200" b="0" i="0" u="none" strike="noStrike" kern="1200" cap="none" spc="-5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0297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402665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452620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092309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645437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82348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311910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220888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06FA7682-01F8-41B4-8DA7-DBEDE7C6C8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28768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541246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81877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5365135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51234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746712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998873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5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412922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6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761808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7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27070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2CB49-4B04-4626-B72D-43EF4E2B90B9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813442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1F2F6E2-CA2D-40A7-8BE4-C30E5CF2054D}" type="slidenum">
              <a:rPr kumimoji="0" lang="en-GB" sz="1200" b="0" i="0" u="none" strike="noStrike" kern="1200" cap="none" spc="-5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Verdana" pitchFamily="34" charset="0"/>
              </a:rPr>
              <a:pPr marL="0" marR="0" lvl="0" indent="0" algn="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9</a:t>
            </a:fld>
            <a:endParaRPr kumimoji="0" lang="en-GB" sz="1200" b="0" i="0" u="none" strike="noStrike" kern="1200" cap="none" spc="-5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5226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65C857B0-BA7F-4231-B59A-526700FAC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5FC6988B-A4CB-4E12-A565-68D705C3AB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E95C879-9842-47A3-8BB1-987628920D34}" type="datetime1">
              <a:rPr lang="da-DK" smtClean="0"/>
              <a:t>31-03-20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05922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88696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478155-5C9E-4D4A-AA75-125DF35A1C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0071" y="1644651"/>
            <a:ext cx="4888549" cy="4062413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B842E0E-6D91-4141-882C-6C91050C6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C64885CE-5A72-464C-A675-4AEA666E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51C8650-3279-4A76-90A4-98B51440301C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40876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535335C1-5736-449E-B5A3-80EF8EFB92D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85578" y="1644651"/>
            <a:ext cx="5703042" cy="4062413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485281A-363B-4F1C-8128-EA4AF5256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B0E6362C-AD60-4A3E-B1BD-8ACCD0B3D7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B13202A9-DE11-408D-9B8A-7630BF567349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8715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14EC495-A6B9-4C60-A011-7047269C9C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314565" y="1644651"/>
            <a:ext cx="4074055" cy="4062413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60EC9E1-A6E7-4EDC-A604-820C98771D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73643761-53E5-4729-8F9C-AC57323CEE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620D795-7D6C-4DDD-9364-2C8C35AA87F6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21299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8959428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FB39600-48A6-438C-ACEE-E7C3FBF9C3A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9" y="452439"/>
            <a:ext cx="801068" cy="800779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DE7E55-1B3D-4B43-B1B5-DE5E4FAB98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F5D459F2-4C14-4DC3-8A9D-B1E9DF21E4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B90C0BA-1BD5-469D-8018-C447C1EB2A93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7754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89594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8" y="1644652"/>
            <a:ext cx="818272" cy="817976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31502FD-B05E-464F-8932-42D027579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AA65EC4C-43E8-483C-B54B-30D5535BB4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2DADF78-B3EF-4042-B2F9-5AAFBCE5A22E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344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llustrati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651594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29058" y="1644653"/>
            <a:ext cx="3259562" cy="3239941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>
                <a:effectLst/>
              </a:rPr>
              <a:t>illustration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B97A6BE-821A-4BF5-AFE7-9A048351C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815BEB-2C63-4CBF-9795-6F15022666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BA51A42-5836-428D-B66B-B65A92E2CCAA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334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 illustrati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86587FC-F18B-4FBE-8CD2-663B9BA8C7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4566" y="1644268"/>
            <a:ext cx="4074055" cy="40627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>
                <a:effectLst/>
              </a:rPr>
              <a:t>illustration</a:t>
            </a:r>
            <a:endParaRPr lang="en-GB" noProof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B89233D-8149-4491-95B2-DE11051C86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D2C9554E-F561-4DDA-B278-92702108D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36937CD-C8B6-42FA-9EC6-EF300AFFE646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34448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733044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007D2D-A158-459C-BE2E-0A1D348DA7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3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9C5C721-7970-4C21-B42B-33753616C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4991259"/>
            <a:ext cx="2445068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DD567F-EFA3-4304-9F2D-5128B34EFFF1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367DCD-123C-45F4-87EB-1586FA603E3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93B8FE7B-9EF6-429C-AC7B-79E85DFB481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32FA97E-008F-4B07-B688-A7B22404D8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F49FA4C-A0C7-484D-9CD0-A2B1528B3A2E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60E582F-46F7-4DF2-ABCB-E07E85419F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7D61A51-31AF-4082-AFF9-2D4AE9DB7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8BB7FA2D-0C66-4D42-8CC8-567BD9581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E10093C-62DA-496A-9DBF-6F8D26F3BF2E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34843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fact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6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9CAE46-C6D8-48BD-A372-1CDE93E9CC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5579" y="1644390"/>
            <a:ext cx="244347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7908BB7-3AA9-46B8-9F51-F98F86B5DB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1644390"/>
            <a:ext cx="2445068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E9B38D5-AD3D-4AE8-88F2-0F9D25BB3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1AC23FC6-140A-4E04-B1F9-995F52FC87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79F0066-3164-42E7-92E6-6ECB81B57310}" type="datetime1">
              <a:rPr lang="en-GB" smtClean="0"/>
              <a:t>31/03/2022</a:t>
            </a:fld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2F1A21-DB0B-44A1-8EBE-E26897290FD2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A6B9EE2-783B-41AA-AC77-4DB0F5ED032D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01B83249-39D6-4252-BB3B-A6D96E90F9B0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C1B093AE-E011-42FE-AB95-66C9BFBDFA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5F1A727-495B-4982-B3C7-671F9B44F5C2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BE0B471-FCB7-47D8-9FB4-678E9DA02E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42291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44D76E6-1904-4038-80C4-8BC46CEBB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8618" y="1644390"/>
            <a:ext cx="2443480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6CAB1BFF-44E8-48FF-AF80-4144B6650A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4991259"/>
            <a:ext cx="2443479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BB98BEF1-8B24-44DD-B00E-B069E4D5CA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29" name="Date_DateCustomA">
            <a:extLst>
              <a:ext uri="{FF2B5EF4-FFF2-40B4-BE49-F238E27FC236}">
                <a16:creationId xmlns:a16="http://schemas.microsoft.com/office/drawing/2014/main" id="{5AF2CA37-37E6-4F35-A8D3-13E15E8256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E8FCDCF-FAAC-48D8-97CE-71AEDA9EFE29}" type="datetime1">
              <a:rPr lang="en-GB" smtClean="0"/>
              <a:t>31/03/2022</a:t>
            </a:fld>
            <a:endParaRPr lang="en-GB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C08E95C-A108-449E-AA24-2989A4642A1B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67BA9E9-E6FD-43CD-9C63-CB59B98DE9F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C4ED11A2-1FA8-4D5C-95DC-296255DA7DE6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65E16663-E9F6-4D4C-9422-559BC29D6C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8EF9199-7D6F-4B6A-AF35-F75259366BE9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77BCF0F-D12B-4ADD-B578-30EC974B1E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23258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C666208A-F4F9-4299-9F9F-6881C4C08564}"/>
              </a:ext>
            </a:extLst>
          </p:cNvPr>
          <p:cNvSpPr/>
          <p:nvPr userDrawn="1"/>
        </p:nvSpPr>
        <p:spPr>
          <a:xfrm>
            <a:off x="-2999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4886960" cy="5254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AE25691-DC33-4C04-AF2A-3DEFF887B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F99201D3-72C4-4206-8970-FC1ACB025C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E6892AED-DD77-42C7-BB42-12F75B7E66E8}" type="datetime1">
              <a:rPr lang="en-GB" smtClean="0"/>
              <a:t>31/03/2022</a:t>
            </a:fld>
            <a:endParaRPr lang="en-GB"/>
          </a:p>
        </p:txBody>
      </p:sp>
      <p:sp>
        <p:nvSpPr>
          <p:cNvPr id="16" name="Logo name">
            <a:extLst>
              <a:ext uri="{FF2B5EF4-FFF2-40B4-BE49-F238E27FC236}">
                <a16:creationId xmlns:a16="http://schemas.microsoft.com/office/drawing/2014/main" id="{D7ECD40D-A88F-4093-BBDF-4B155C54CC2A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>
                    <a:lumMod val="95000"/>
                  </a:schemeClr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1254158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6556C8-A731-4240-9800-194A4F70A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2438"/>
            <a:ext cx="4072466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530FD33-AB9C-4A88-9BBB-1E385B91358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C52035C-C8B1-4C44-976C-626BFFA779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536905"/>
            <a:ext cx="5703042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9DC368E-8BDB-41BB-B406-A3B0A2566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6531AD21-BE76-4592-909B-A3B9638680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7E088B74-D5F8-4D6D-B466-6D0723103653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82333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CDE71F-8FC2-4DE4-9423-EE5714347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2443480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2443480" cy="4061090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6592" y="5388899"/>
            <a:ext cx="7332029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56592" y="536905"/>
            <a:ext cx="7332029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7D9B79D-FD5C-45BD-97EA-6B24E7C004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E666E0-9E5A-4A77-8B2D-91C35C2274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2EEB1991-01A7-4A1C-9C66-872C05E5583D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13444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80" y="1644652"/>
            <a:ext cx="570304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85A6CB6-503A-43E4-95E9-49CCA6BE0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BE177DB-3D97-4178-B41E-C5E88E6EF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A29EE775-E260-4614-9C8B-28623B33C6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10C8F63-746D-49AA-89DD-F720C3C3E8E3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18330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2443480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0A7420-B42B-4A1E-801C-58F73E98E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94D7C6-6298-49CF-9E54-6442A65BE7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9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6C9629C-CF41-41C8-B234-06D2B62B58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244506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2ED723-2034-4873-8F5F-84CD3DF06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70AABF26-1E97-4163-9AEB-8A08056A2C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7D9B8B2-2B26-4659-AFD3-8F852FE9A4D5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12824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536905"/>
            <a:ext cx="10590002" cy="4851993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3110" y="906489"/>
            <a:ext cx="3257974" cy="2157549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1059159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40854D9-4A7F-43DD-ADEE-729ECE38A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3B009AD-71AF-4311-AB8D-836DCA3740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2D02C2F-C8D1-4CA6-BC85-74B401D907FB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5516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A48E567-47F5-4B08-99D6-069385ECE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3950CBF-72E1-4385-99DA-211C9A719C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7029" y="5387834"/>
            <a:ext cx="407405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D561B5-A7F3-463C-BD8C-C2813F3D37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5578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8618" y="1644652"/>
            <a:ext cx="4072467" cy="3743181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5F701B6-51A4-429E-BAE7-303D346C1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AF6FCEB8-934A-4A77-A838-C33FC03CC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317641B-8A6E-4000-8D18-8C26E74C5E0D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05796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2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8144935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814493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9424118-58CD-42CA-86D2-8D172442E46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5AEC6E4-C3EF-4192-856D-9039F171C4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5D31929-EC68-4BA9-818F-D9E7F4391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4" name="Date_DateCustomA">
            <a:extLst>
              <a:ext uri="{FF2B5EF4-FFF2-40B4-BE49-F238E27FC236}">
                <a16:creationId xmlns:a16="http://schemas.microsoft.com/office/drawing/2014/main" id="{F7836BF7-FD55-405A-874B-61C805C2E3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9976E51-1FC3-4474-950D-AA48067650FE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9945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AD88E7-3B12-4449-81F1-3C8219EE7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7D20742-1518-4D1C-84E0-A50DB3F71A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1084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5" y="1644650"/>
            <a:ext cx="3257973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AD0405A-0FD7-4F0F-AF7F-B2047DF5CF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8E1753-D849-4306-90F0-AE9E3B1E43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4824DA6C-1660-454E-AE9F-DA89A04C5D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9B1F6A8-6B7A-461C-8C18-9117AB04685F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51797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A0290B9-8984-4B63-9584-E3AE12BC8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4886961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7ABCE10-41F5-4BFF-B780-36E38A40F9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0070" y="5387835"/>
            <a:ext cx="2443482" cy="317908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139212-6CFC-41D2-8FC4-04AFFFB5F67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488696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00071" y="1644650"/>
            <a:ext cx="2443480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874BC50-6BE9-4C0E-B354-8E1950E1DE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A27BE1DC-8318-4E12-A678-697DBD2158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70B47BD-1B93-49E8-8F1A-50F28146FAEE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3542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9AAF93-6D36-4195-82B9-DF0720EC5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7" y="5387835"/>
            <a:ext cx="5701454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E2CB951-B63B-4713-9C55-151E8F7076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5387835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ABF96D0-72C6-404F-8711-EC888AA24B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7029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0"/>
            <a:ext cx="1628988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6ABE9CB-A3E8-48D2-82D8-BB162FBC2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F8AC17EF-756D-46C0-9E6D-5F5BC14621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8217C0B-9033-4A97-8B9B-43B4113B467B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9443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FF0F6B-AA6E-4B16-90F1-26987BBE9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FDCD1E09-F97D-49B0-8DE9-0E701EFB5F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B98ADA4-E8FA-45D8-A667-5B7FA1A67187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81739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23A1CA0-6B95-4682-8F2B-A2CB29E9A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835"/>
            <a:ext cx="5703041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F8FEFC5-5B98-4110-A017-739F63CE87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5" y="5387835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ED6E484-ADE4-491D-A306-116A904F42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3144372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D494126-0696-4DB9-B563-2B5C972242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6" y="1644650"/>
            <a:ext cx="1628987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6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4567020D-E32F-49AD-ADAE-9E64ADBB8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32279A45-1217-4472-8344-3C0A19130A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93200B9-2419-488B-B3B4-69557D1FB50C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23784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7">
            <a:extLst>
              <a:ext uri="{FF2B5EF4-FFF2-40B4-BE49-F238E27FC236}">
                <a16:creationId xmlns:a16="http://schemas.microsoft.com/office/drawing/2014/main" id="{6DA88F43-D409-4504-A063-DA4B451A4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1F7B2BE-FFF8-4897-A35A-DDFEEB4911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5672"/>
            <a:ext cx="407405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4074056" cy="1483525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35B3C8D-4ACE-428F-8AD3-7A13F1213FD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6" y="5387835"/>
            <a:ext cx="1628987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7A95160-7865-47B1-BBD0-32DA9C96FE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5387835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4" y="3905375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51A90D8-504E-4DC5-901B-5180BA0DE1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21" name="Date_DateCustomA">
            <a:extLst>
              <a:ext uri="{FF2B5EF4-FFF2-40B4-BE49-F238E27FC236}">
                <a16:creationId xmlns:a16="http://schemas.microsoft.com/office/drawing/2014/main" id="{C64ACC7F-7EC9-4D88-B2D9-4BD783C75A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36191CC-81E4-40E2-A3EA-FD9630412644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24345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8899"/>
            <a:ext cx="5703042" cy="316843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2DF0A72-5AF0-4ACE-B2DB-4155F465E0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4193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F958486-0A01-4664-898B-849018028B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4" y="5387953"/>
            <a:ext cx="1628988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2AE0D8A-202F-43F6-AB72-839F68F575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314419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553D49DA-A17B-44D7-8EBB-64C685A230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58044" y="538795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4" y="3905374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4" y="1644652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109E8909-9BF2-426F-A556-859081C99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9EC51AE-5F71-4517-A9E0-7E30DE0DEA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23" name="Date_DateCustomA">
            <a:extLst>
              <a:ext uri="{FF2B5EF4-FFF2-40B4-BE49-F238E27FC236}">
                <a16:creationId xmlns:a16="http://schemas.microsoft.com/office/drawing/2014/main" id="{9986C71A-FB30-4BC3-80B0-20BC541703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178DCDE-D1A1-4EB4-8F09-37541DFBB130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0803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953"/>
            <a:ext cx="325956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02B0B2F-7F53-4AFC-9446-DB6C5777E6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5849" y="3145672"/>
            <a:ext cx="64867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62756F-E3F0-402D-9E22-0BE6B392C8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085" y="5387953"/>
            <a:ext cx="1625812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E7208CB-CE86-4F3D-B12C-D8268891AA4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14566" y="5387953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06E02B92-F862-4F76-B8DC-8C3D1FC7F97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58046" y="5387953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4" y="1644651"/>
            <a:ext cx="651753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D840AF9-BBF8-4202-BC96-375E5BEB71A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871085" y="3905096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itle 7">
            <a:extLst>
              <a:ext uri="{FF2B5EF4-FFF2-40B4-BE49-F238E27FC236}">
                <a16:creationId xmlns:a16="http://schemas.microsoft.com/office/drawing/2014/main" id="{299AE5C6-8512-40FE-B386-E39B56597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B9DA6D0-8869-4337-BEAF-0ADAFE06FB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24" name="Date_DateCustomA">
            <a:extLst>
              <a:ext uri="{FF2B5EF4-FFF2-40B4-BE49-F238E27FC236}">
                <a16:creationId xmlns:a16="http://schemas.microsoft.com/office/drawing/2014/main" id="{A387D7D7-69FC-41FF-BDFD-687A499B61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5944EB0A-8F31-4F12-A58B-82FA23A642B9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73933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034" y="452439"/>
            <a:ext cx="10556574" cy="1056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Klik for at redigere titeltypografien i masteren</a:t>
            </a:r>
            <a:endParaRPr lang="en-GB" noProof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1C804A56-02C2-4000-8DE1-4C682601C7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F8065A6C-B087-4C37-B9BF-238078D12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Footer Placeholder 4" hidden="1">
            <a:extLst>
              <a:ext uri="{FF2B5EF4-FFF2-40B4-BE49-F238E27FC236}">
                <a16:creationId xmlns:a16="http://schemas.microsoft.com/office/drawing/2014/main" id="{E644527C-AD14-4EB9-ADCA-31C61EBA6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/>
          </a:p>
        </p:txBody>
      </p:sp>
      <p:sp>
        <p:nvSpPr>
          <p:cNvPr id="13" name="Date_DateCustomA" hidden="1">
            <a:extLst>
              <a:ext uri="{FF2B5EF4-FFF2-40B4-BE49-F238E27FC236}">
                <a16:creationId xmlns:a16="http://schemas.microsoft.com/office/drawing/2014/main" id="{264006B7-F2E6-4F4A-8D05-3F44F8F318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8581063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D502E4A2-448F-4BE7-8814-15A06BDE1C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DB3E8C21-56F3-43EB-BF88-4EEB72C3F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35D10A95-9140-4D91-8BAE-655D1782D7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/>
          </a:p>
        </p:txBody>
      </p:sp>
      <p:sp>
        <p:nvSpPr>
          <p:cNvPr id="12" name="Date_DateCustomA" hidden="1">
            <a:extLst>
              <a:ext uri="{FF2B5EF4-FFF2-40B4-BE49-F238E27FC236}">
                <a16:creationId xmlns:a16="http://schemas.microsoft.com/office/drawing/2014/main" id="{3FA8083C-E59E-4629-A5C9-D403872552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1087091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C267E1F-9146-4D51-A3EA-9E268FC35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1945915"/>
            <a:ext cx="7330441" cy="2768684"/>
          </a:xfrm>
        </p:spPr>
        <p:txBody>
          <a:bodyPr/>
          <a:lstStyle>
            <a:lvl1pPr>
              <a:defRPr sz="3199" b="0" cap="none">
                <a:solidFill>
                  <a:schemeClr val="tx1"/>
                </a:solidFill>
              </a:defRPr>
            </a:lvl1pPr>
          </a:lstStyle>
          <a:p>
            <a:r>
              <a:rPr lang="en-GB"/>
              <a:t>Quotation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1E1ADCAE-53E0-4B32-A2CA-095078D0C6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072" y="5018936"/>
            <a:ext cx="7332990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Title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E8FF56-E9E6-4CE1-A183-9B907183A27A}"/>
              </a:ext>
            </a:extLst>
          </p:cNvPr>
          <p:cNvSpPr txBox="1"/>
          <p:nvPr userDrawn="1"/>
        </p:nvSpPr>
        <p:spPr bwMode="auto">
          <a:xfrm>
            <a:off x="805541" y="2249830"/>
            <a:ext cx="1671855" cy="2829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2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697" marR="0" indent="-25395" algn="l" defTabSz="457109" rtl="0" eaLnBrk="0" fontAlgn="base" latinLnBrk="0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ClrTx/>
              <a:buSzTx/>
              <a:tabLst/>
            </a:pPr>
            <a:r>
              <a:rPr kumimoji="0" lang="en-GB" sz="19896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 pitchFamily="34" charset="0"/>
                <a:cs typeface="Verdana" pitchFamily="34" charset="0"/>
              </a:rPr>
              <a:t>“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A9AB153B-AFF1-4043-8D3F-263FEAF2377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5D8EFE0-F00D-46BC-9E29-8C829868EF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tx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BA90A93D-37F9-4C65-91AC-8C8D05B4C5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A8D4E2C-4AD4-4902-9AA6-258C412AEED1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90740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65C857B0-BA7F-4231-B59A-526700FAC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2E9997-006D-492C-9877-F7617EDD2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5FC6988B-A4CB-4E12-A565-68D705C3AB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2E10D1A-D613-41CE-B02A-846290684BA0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35024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ED85EA1-D7DA-4042-AE58-E34BD5AC5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235F65ED-2265-47AB-ACC6-E4B66C3907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7FB7D42-25F0-4925-AB91-37097B4A81F1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51237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798617" y="452440"/>
            <a:ext cx="10590003" cy="1196444"/>
          </a:xfrm>
        </p:spPr>
        <p:txBody>
          <a:bodyPr tIns="0"/>
          <a:lstStyle>
            <a:lvl1pPr>
              <a:defRPr sz="3199" cap="all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da-DK" noProof="0"/>
              <a:t>Klik for at redigere titeltypografien i masteren</a:t>
            </a:r>
            <a:endParaRPr lang="en-GB" noProof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31/03/2022</a:t>
            </a:fld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CCD3D23-05BF-4B57-8284-15FF6D12171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902232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D_PresentationTitle">
            <a:extLst>
              <a:ext uri="{FF2B5EF4-FFF2-40B4-BE49-F238E27FC236}">
                <a16:creationId xmlns:a16="http://schemas.microsoft.com/office/drawing/2014/main" id="{B1DAA5DF-5AA7-49EC-ACBF-10E8A19712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4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9" name="FLD_PresentationTitle_2">
            <a:extLst>
              <a:ext uri="{FF2B5EF4-FFF2-40B4-BE49-F238E27FC236}">
                <a16:creationId xmlns:a16="http://schemas.microsoft.com/office/drawing/2014/main" id="{5B27253C-39D7-4448-BD0F-A9FC3677BCBD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6" y="1139480"/>
            <a:ext cx="9773924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3328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C6EA742-E999-426B-9F1C-33524D47A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09BA1C59-AB8D-4ACE-A4C9-3A97AB0B83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13F78D9-42B8-43DD-B9D4-11FA41011F45}" type="datetime1">
              <a:rPr lang="en-GB" smtClean="0"/>
              <a:t>31/03/2022</a:t>
            </a:fld>
            <a:endParaRPr lang="en-GB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B368B35-1A95-4DB8-9489-9493B9DFE5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7" y="6158174"/>
            <a:ext cx="2826826" cy="2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1708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9"/>
            <a:ext cx="4886960" cy="44319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AAE5DB4-A422-4286-935C-1ABCA4CCEF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4970200"/>
            <a:ext cx="4886960" cy="365370"/>
          </a:xfrm>
        </p:spPr>
        <p:txBody>
          <a:bodyPr lIns="0" anchor="b" anchorCtr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Department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862EE0-F879-436B-A5EA-70A7F83ABF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8" y="5332765"/>
            <a:ext cx="4886960" cy="424314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395921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727055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FontTx/>
              <a:buNone/>
              <a:defRPr sz="1600">
                <a:solidFill>
                  <a:schemeClr val="bg1"/>
                </a:solidFill>
              </a:defRPr>
            </a:lvl4pPr>
            <a:lvl5pP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x@ramboll.com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9855619-46E8-4B12-8D5A-DE3552021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9CA6E42C-D397-4857-89FC-8B948A95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5E849237-3873-4459-A547-67B1C8011873}" type="datetime1">
              <a:rPr lang="en-GB" smtClean="0"/>
              <a:t>31/03/2022</a:t>
            </a:fld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49BD8C4-6612-438B-81F5-53DD9DF90E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7" y="6158174"/>
            <a:ext cx="2826825" cy="2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0868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0DA34D-CD01-4059-B449-4DCD238F6A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240"/>
            <a:ext cx="12192000" cy="6855521"/>
          </a:xfrm>
          <a:prstGeom prst="rect">
            <a:avLst/>
          </a:prstGeom>
        </p:spPr>
      </p:pic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1543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FF0F6B-AA6E-4B16-90F1-26987BBE9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FDCD1E09-F97D-49B0-8DE9-0E701EFB5F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B98ADA4-E8FA-45D8-A667-5B7FA1A67187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54220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1C52AC6E-7F31-46F0-897C-8CA895D525E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noProof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2A0CAF9-565B-4643-8539-61D9B882A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6618B-DF84-4E96-B2FD-7B59D5717C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618" y="1633160"/>
            <a:ext cx="10590003" cy="4086866"/>
          </a:xfrm>
        </p:spPr>
        <p:txBody>
          <a:bodyPr/>
          <a:lstStyle>
            <a:lvl1pPr marL="361878" indent="-361878">
              <a:buFont typeface="+mj-lt"/>
              <a:buAutoNum type="arabicPeriod"/>
              <a:defRPr sz="1400" b="1" cap="all" baseline="0">
                <a:solidFill>
                  <a:schemeClr val="bg1"/>
                </a:solidFill>
              </a:defRPr>
            </a:lvl1pPr>
            <a:lvl2pPr marL="626938" indent="-265060">
              <a:defRPr sz="1400" b="1" cap="all" baseline="0">
                <a:solidFill>
                  <a:schemeClr val="bg1"/>
                </a:solidFill>
              </a:defRPr>
            </a:lvl2pPr>
            <a:lvl3pPr>
              <a:defRPr b="1" cap="all" baseline="0">
                <a:solidFill>
                  <a:schemeClr val="bg1"/>
                </a:solidFill>
              </a:defRPr>
            </a:lvl3pPr>
            <a:lvl4pPr>
              <a:defRPr b="1" cap="all" baseline="0">
                <a:solidFill>
                  <a:schemeClr val="bg1"/>
                </a:solidFill>
              </a:defRPr>
            </a:lvl4pPr>
            <a:lvl5pPr>
              <a:defRPr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023EA8A-7243-49C8-8C39-DC7F2EDAB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0BFC8F03-4431-41CF-AF1F-ECDA545293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CD4A6F46-B6F7-4994-AAE4-379699F66888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22035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1" y="1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1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EA19-5171-4127-A28C-C6D875C2D7D4}" type="datetime1">
              <a:rPr lang="en-GB" smtClean="0"/>
              <a:t>31/03/2022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4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1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485210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C8F4-6B6A-48C1-B023-792B6BA54AED}" type="datetime1">
              <a:rPr lang="en-GB" smtClean="0"/>
              <a:t>31/03/2022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93414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199976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67000-DC23-4F86-B96B-25926F0083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55E496-CA9D-4A9D-AC81-B847E43367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F8F6B6-5A37-4F5A-A839-D6D1D482F7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897E09-3483-4339-B45F-0BD480B4A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6ADD445-422B-41CC-B741-E9394632FEB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8E8A079D-0F01-4087-8466-404AA9697848}" type="datetime1">
              <a:rPr lang="da-DK" smtClean="0"/>
              <a:t>31-03-202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81843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noFill/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8" y="409474"/>
            <a:ext cx="9773923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463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32F99A81-D9A2-4F30-8989-49FBFDFFB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4677BC5A-C865-45E8-BEA2-32CF74611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BCB23DC-9A5C-4856-B9D3-C9BA6C1668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02286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solidFill>
            <a:srgbClr val="F6F6F4"/>
          </a:solidFill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2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922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GB" noProof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F31626DF-C504-456C-BABA-F9E112AEA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22" name="Footer Placeholder 4" hidden="1">
            <a:extLst>
              <a:ext uri="{FF2B5EF4-FFF2-40B4-BE49-F238E27FC236}">
                <a16:creationId xmlns:a16="http://schemas.microsoft.com/office/drawing/2014/main" id="{148EA343-9CD9-4A35-8E70-A9FAF3855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/>
          </a:p>
        </p:txBody>
      </p:sp>
      <p:sp>
        <p:nvSpPr>
          <p:cNvPr id="23" name="Date_DateCustomA" hidden="1">
            <a:extLst>
              <a:ext uri="{FF2B5EF4-FFF2-40B4-BE49-F238E27FC236}">
                <a16:creationId xmlns:a16="http://schemas.microsoft.com/office/drawing/2014/main" id="{D46E539C-AF02-4268-B134-91B646ABB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71DD6B-2BD1-40F7-8209-3A56F24448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28852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05C9348-6845-4A4F-958A-4A052BC8E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7330441" cy="5254627"/>
          </a:xfrm>
        </p:spPr>
        <p:txBody>
          <a:bodyPr/>
          <a:lstStyle>
            <a:lvl1pPr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GB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9783461-93EA-4162-AC89-71558EC415F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EE38BD6-B0DE-4974-8C0E-549D4DF8A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4F117C74-452F-4005-AE59-9EDC236F06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39E358D6-2C07-4588-BB20-50FD0000CCEB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22358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1C52AC6E-7F31-46F0-897C-8CA895D525E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2A0CAF9-565B-4643-8539-61D9B882A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6618B-DF84-4E96-B2FD-7B59D5717C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618" y="1633160"/>
            <a:ext cx="10590003" cy="4086866"/>
          </a:xfrm>
        </p:spPr>
        <p:txBody>
          <a:bodyPr/>
          <a:lstStyle>
            <a:lvl1pPr marL="361878" indent="-361878">
              <a:buFont typeface="+mj-lt"/>
              <a:buAutoNum type="arabicPeriod"/>
              <a:defRPr sz="1400" b="1" cap="all" baseline="0">
                <a:solidFill>
                  <a:schemeClr val="bg1"/>
                </a:solidFill>
              </a:defRPr>
            </a:lvl1pPr>
            <a:lvl2pPr marL="626938" indent="-265060">
              <a:defRPr sz="1400" b="1" cap="all" baseline="0">
                <a:solidFill>
                  <a:schemeClr val="bg1"/>
                </a:solidFill>
              </a:defRPr>
            </a:lvl2pPr>
            <a:lvl3pPr>
              <a:defRPr b="1" cap="all" baseline="0">
                <a:solidFill>
                  <a:schemeClr val="bg1"/>
                </a:solidFill>
              </a:defRPr>
            </a:lvl3pPr>
            <a:lvl4pPr>
              <a:defRPr b="1" cap="all" baseline="0">
                <a:solidFill>
                  <a:schemeClr val="bg1"/>
                </a:solidFill>
              </a:defRPr>
            </a:lvl4pPr>
            <a:lvl5pPr>
              <a:defRPr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023EA8A-7243-49C8-8C39-DC7F2EDAB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0BFC8F03-4431-41CF-AF1F-ECDA545293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CD4A6F46-B6F7-4994-AAE4-379699F66888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9012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FF0F6B-AA6E-4B16-90F1-26987BBE9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FDCD1E09-F97D-49B0-8DE9-0E701EFB5F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B98ADA4-E8FA-45D8-A667-5B7FA1A67187}" type="datetime1">
              <a:rPr lang="en-GB" smtClean="0"/>
              <a:t>31/03/20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8752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26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24.xml"/><Relationship Id="rId34" Type="http://schemas.openxmlformats.org/officeDocument/2006/relationships/slideLayout" Target="../slideLayouts/slideLayout37.xml"/><Relationship Id="rId42" Type="http://schemas.openxmlformats.org/officeDocument/2006/relationships/slideLayout" Target="../slideLayouts/slideLayout45.xml"/><Relationship Id="rId47" Type="http://schemas.openxmlformats.org/officeDocument/2006/relationships/image" Target="../media/image1.emf"/><Relationship Id="rId50" Type="http://schemas.openxmlformats.org/officeDocument/2006/relationships/image" Target="../media/image4.emf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9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14.xml"/><Relationship Id="rId24" Type="http://schemas.openxmlformats.org/officeDocument/2006/relationships/slideLayout" Target="../slideLayouts/slideLayout27.xml"/><Relationship Id="rId32" Type="http://schemas.openxmlformats.org/officeDocument/2006/relationships/slideLayout" Target="../slideLayouts/slideLayout35.xml"/><Relationship Id="rId37" Type="http://schemas.openxmlformats.org/officeDocument/2006/relationships/slideLayout" Target="../slideLayouts/slideLayout40.xml"/><Relationship Id="rId40" Type="http://schemas.openxmlformats.org/officeDocument/2006/relationships/slideLayout" Target="../slideLayouts/slideLayout43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slideLayout" Target="../slideLayouts/slideLayout26.xml"/><Relationship Id="rId28" Type="http://schemas.openxmlformats.org/officeDocument/2006/relationships/slideLayout" Target="../slideLayouts/slideLayout31.xml"/><Relationship Id="rId36" Type="http://schemas.openxmlformats.org/officeDocument/2006/relationships/slideLayout" Target="../slideLayouts/slideLayout39.xml"/><Relationship Id="rId49" Type="http://schemas.openxmlformats.org/officeDocument/2006/relationships/image" Target="../media/image3.png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31" Type="http://schemas.openxmlformats.org/officeDocument/2006/relationships/slideLayout" Target="../slideLayouts/slideLayout34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slideLayout" Target="../slideLayouts/slideLayout25.xml"/><Relationship Id="rId27" Type="http://schemas.openxmlformats.org/officeDocument/2006/relationships/slideLayout" Target="../slideLayouts/slideLayout30.xml"/><Relationship Id="rId30" Type="http://schemas.openxmlformats.org/officeDocument/2006/relationships/slideLayout" Target="../slideLayouts/slideLayout33.xml"/><Relationship Id="rId35" Type="http://schemas.openxmlformats.org/officeDocument/2006/relationships/slideLayout" Target="../slideLayouts/slideLayout38.xml"/><Relationship Id="rId43" Type="http://schemas.openxmlformats.org/officeDocument/2006/relationships/slideLayout" Target="../slideLayouts/slideLayout46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slideLayout" Target="../slideLayouts/slideLayout28.xml"/><Relationship Id="rId33" Type="http://schemas.openxmlformats.org/officeDocument/2006/relationships/slideLayout" Target="../slideLayouts/slideLayout36.xml"/><Relationship Id="rId38" Type="http://schemas.openxmlformats.org/officeDocument/2006/relationships/slideLayout" Target="../slideLayouts/slideLayout41.xml"/><Relationship Id="rId46" Type="http://schemas.openxmlformats.org/officeDocument/2006/relationships/oleObject" Target="../embeddings/oleObject2.bin"/><Relationship Id="rId20" Type="http://schemas.openxmlformats.org/officeDocument/2006/relationships/slideLayout" Target="../slideLayouts/slideLayout23.xml"/><Relationship Id="rId41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9542EA-E43E-4E22-95F8-25BC814376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06260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63" imgH="463" progId="TCLayout.ActiveDocument.1">
                  <p:embed/>
                </p:oleObj>
              </mc:Choice>
              <mc:Fallback>
                <p:oleObj name="think-cell Slide" r:id="rId6" imgW="463" imgH="4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59542EA-E43E-4E22-95F8-25BC814376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 (Enter+TAB for next text level, SHIFT+TAB to go back in levels)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</a:t>
            </a:r>
          </a:p>
          <a:p>
            <a:pPr lvl="4"/>
            <a:r>
              <a:rPr lang="en-GB" noProof="0"/>
              <a:t>Level 5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30517614-5E96-4241-B24E-DFF8B3360A7A}" type="datetime1">
              <a:rPr lang="da-DK" smtClean="0"/>
              <a:t>31-03-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4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45" r:id="rId2"/>
    <p:sldLayoutId id="2147483799" r:id="rId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 userDrawn="1">
          <p15:clr>
            <a:srgbClr val="A4A3A4"/>
          </p15:clr>
        </p15:guide>
        <p15:guide id="2" pos="847" userDrawn="1">
          <p15:clr>
            <a:srgbClr val="A4A3A4"/>
          </p15:clr>
        </p15:guide>
        <p15:guide id="3" orient="horz" pos="410" userDrawn="1">
          <p15:clr>
            <a:srgbClr val="F26B43"/>
          </p15:clr>
        </p15:guide>
        <p15:guide id="4" orient="horz" pos="4135" userDrawn="1">
          <p15:clr>
            <a:srgbClr val="A4A3A4"/>
          </p15:clr>
        </p15:guide>
        <p15:guide id="5" pos="226" userDrawn="1">
          <p15:clr>
            <a:srgbClr val="F26B43"/>
          </p15:clr>
        </p15:guide>
        <p15:guide id="6" pos="7453" userDrawn="1">
          <p15:clr>
            <a:srgbClr val="F26B43"/>
          </p15:clr>
        </p15:guide>
        <p15:guide id="7" orient="horz" pos="1152" userDrawn="1">
          <p15:clr>
            <a:srgbClr val="F26B43"/>
          </p15:clr>
        </p15:guide>
        <p15:guide id="8" pos="1242" userDrawn="1">
          <p15:clr>
            <a:srgbClr val="A4A3A4"/>
          </p15:clr>
        </p15:guide>
        <p15:guide id="9" pos="1468" userDrawn="1">
          <p15:clr>
            <a:srgbClr val="A4A3A4"/>
          </p15:clr>
        </p15:guide>
        <p15:guide id="10" pos="1863" userDrawn="1">
          <p15:clr>
            <a:srgbClr val="A4A3A4"/>
          </p15:clr>
        </p15:guide>
        <p15:guide id="11" pos="2090" userDrawn="1">
          <p15:clr>
            <a:srgbClr val="A4A3A4"/>
          </p15:clr>
        </p15:guide>
        <p15:guide id="12" pos="2484" userDrawn="1">
          <p15:clr>
            <a:srgbClr val="A4A3A4"/>
          </p15:clr>
        </p15:guide>
        <p15:guide id="13" pos="2711" userDrawn="1">
          <p15:clr>
            <a:srgbClr val="A4A3A4"/>
          </p15:clr>
        </p15:guide>
        <p15:guide id="14" pos="3105" userDrawn="1">
          <p15:clr>
            <a:srgbClr val="A4A3A4"/>
          </p15:clr>
        </p15:guide>
        <p15:guide id="15" pos="3332" userDrawn="1">
          <p15:clr>
            <a:srgbClr val="A4A3A4"/>
          </p15:clr>
        </p15:guide>
        <p15:guide id="16" pos="3726" userDrawn="1">
          <p15:clr>
            <a:srgbClr val="A4A3A4"/>
          </p15:clr>
        </p15:guide>
        <p15:guide id="17" pos="3953" userDrawn="1">
          <p15:clr>
            <a:srgbClr val="A4A3A4"/>
          </p15:clr>
        </p15:guide>
        <p15:guide id="18" pos="4347" userDrawn="1">
          <p15:clr>
            <a:srgbClr val="A4A3A4"/>
          </p15:clr>
        </p15:guide>
        <p15:guide id="19" pos="4574" userDrawn="1">
          <p15:clr>
            <a:srgbClr val="A4A3A4"/>
          </p15:clr>
        </p15:guide>
        <p15:guide id="20" pos="4968" userDrawn="1">
          <p15:clr>
            <a:srgbClr val="A4A3A4"/>
          </p15:clr>
        </p15:guide>
        <p15:guide id="21" pos="5195" userDrawn="1">
          <p15:clr>
            <a:srgbClr val="A4A3A4"/>
          </p15:clr>
        </p15:guide>
        <p15:guide id="22" pos="5589" userDrawn="1">
          <p15:clr>
            <a:srgbClr val="A4A3A4"/>
          </p15:clr>
        </p15:guide>
        <p15:guide id="23" pos="5816" userDrawn="1">
          <p15:clr>
            <a:srgbClr val="A4A3A4"/>
          </p15:clr>
        </p15:guide>
        <p15:guide id="24" pos="6211" userDrawn="1">
          <p15:clr>
            <a:srgbClr val="A4A3A4"/>
          </p15:clr>
        </p15:guide>
        <p15:guide id="25" pos="6437" userDrawn="1">
          <p15:clr>
            <a:srgbClr val="A4A3A4"/>
          </p15:clr>
        </p15:guide>
        <p15:guide id="26" pos="6832" userDrawn="1">
          <p15:clr>
            <a:srgbClr val="A4A3A4"/>
          </p15:clr>
        </p15:guide>
        <p15:guide id="27" pos="7058" userDrawn="1">
          <p15:clr>
            <a:srgbClr val="A4A3A4"/>
          </p15:clr>
        </p15:guide>
        <p15:guide id="28" orient="horz" pos="385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52E1E91-7DE1-4BDD-807B-B19EFCBB5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196577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63" imgH="463" progId="TCLayout.ActiveDocument.1">
                  <p:embed/>
                </p:oleObj>
              </mc:Choice>
              <mc:Fallback>
                <p:oleObj name="think-cell Slide" r:id="rId46" imgW="463" imgH="4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52E1E91-7DE1-4BDD-807B-B19EFCBB5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798618" y="312767"/>
            <a:ext cx="10590003" cy="748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/>
              <a:t>Presentation title</a:t>
            </a:r>
            <a:br>
              <a:rPr lang="en-GB" noProof="0"/>
            </a:br>
            <a:r>
              <a:rPr lang="en-GB" noProof="0"/>
              <a:t>(in cyan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 baseline="0"/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8617" y="1647826"/>
            <a:ext cx="10590003" cy="4059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4 No bullet text 18</a:t>
            </a:r>
          </a:p>
          <a:p>
            <a:pPr lvl="4"/>
            <a:r>
              <a:rPr lang="en-GB" noProof="0"/>
              <a:t>5 </a:t>
            </a:r>
            <a:r>
              <a:rPr lang="en-GB" noProof="0" err="1"/>
              <a:t>Megaheader</a:t>
            </a:r>
            <a:r>
              <a:rPr lang="en-GB" noProof="0"/>
              <a:t> caps 48</a:t>
            </a:r>
          </a:p>
          <a:p>
            <a:pPr lvl="5"/>
            <a:r>
              <a:rPr lang="en-GB" noProof="0"/>
              <a:t>6 Header caps 18</a:t>
            </a:r>
          </a:p>
          <a:p>
            <a:pPr lvl="6"/>
            <a:r>
              <a:rPr lang="en-GB" noProof="0"/>
              <a:t>7 Text 18</a:t>
            </a:r>
          </a:p>
          <a:p>
            <a:pPr lvl="7"/>
            <a:r>
              <a:rPr lang="en-GB" noProof="0"/>
              <a:t>8 Number 16</a:t>
            </a:r>
          </a:p>
          <a:p>
            <a:pPr lvl="8"/>
            <a:r>
              <a:rPr lang="en-GB" noProof="0"/>
              <a:t>9 Letter 16</a:t>
            </a:r>
          </a:p>
          <a:p>
            <a:pPr lvl="8"/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9E4955-7821-481C-9AF7-C7D9376755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ADC3E656-DC3F-4718-B1B2-E5B4B66615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E8A079D-0F01-4087-8466-404AA9697848}" type="datetime1">
              <a:rPr lang="da-DK" smtClean="0"/>
              <a:t>31-03-2022</a:t>
            </a:fld>
            <a:endParaRPr lang="da-DK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35459E-96A0-4D48-B1D9-A034EE07E024}"/>
              </a:ext>
            </a:extLst>
          </p:cNvPr>
          <p:cNvGrpSpPr/>
          <p:nvPr userDrawn="1"/>
        </p:nvGrpSpPr>
        <p:grpSpPr>
          <a:xfrm>
            <a:off x="-1972350" y="522085"/>
            <a:ext cx="1797025" cy="2906915"/>
            <a:chOff x="-1899137" y="-1"/>
            <a:chExt cx="1796791" cy="290758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DF113FF-8BE3-4207-A5C6-F4579EED1B78}"/>
                </a:ext>
              </a:extLst>
            </p:cNvPr>
            <p:cNvGrpSpPr/>
            <p:nvPr userDrawn="1"/>
          </p:nvGrpSpPr>
          <p:grpSpPr>
            <a:xfrm>
              <a:off x="-1899137" y="-1"/>
              <a:ext cx="1796791" cy="2907588"/>
              <a:chOff x="9009867" y="1645032"/>
              <a:chExt cx="2365739" cy="3828268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5359A05F-1860-4448-A740-55E89B6688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8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8399B32-2EE3-49AE-80A0-6797B01E89E6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6A251040-79B2-4E75-B580-29B9D6CC1B9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3193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25B3411-6214-4AE2-A1EF-BEE63EC00B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9"/>
            <a:stretch>
              <a:fillRect/>
            </a:stretch>
          </p:blipFill>
          <p:spPr>
            <a:xfrm>
              <a:off x="-1884053" y="1200637"/>
              <a:ext cx="1418614" cy="1444137"/>
            </a:xfrm>
            <a:prstGeom prst="rect">
              <a:avLst/>
            </a:prstGeom>
          </p:spPr>
        </p:pic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038C835D-7A3F-4157-850A-1556A9D8479F}"/>
              </a:ext>
            </a:extLst>
          </p:cNvPr>
          <p:cNvPicPr>
            <a:picLocks noChangeAspect="1"/>
          </p:cNvPicPr>
          <p:nvPr userDrawn="1"/>
        </p:nvPicPr>
        <p:blipFill>
          <a:blip r:embed="rId50"/>
          <a:stretch>
            <a:fillRect/>
          </a:stretch>
        </p:blipFill>
        <p:spPr>
          <a:xfrm>
            <a:off x="798617" y="6158174"/>
            <a:ext cx="2826826" cy="25554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515BF35-693E-4749-821E-5148CED147C8}"/>
              </a:ext>
            </a:extLst>
          </p:cNvPr>
          <p:cNvSpPr/>
          <p:nvPr userDrawn="1"/>
        </p:nvSpPr>
        <p:spPr>
          <a:xfrm>
            <a:off x="2052092" y="6141510"/>
            <a:ext cx="1573352" cy="2722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576817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58" r:id="rId17"/>
    <p:sldLayoutId id="2147483759" r:id="rId18"/>
    <p:sldLayoutId id="2147483760" r:id="rId19"/>
    <p:sldLayoutId id="2147483761" r:id="rId20"/>
    <p:sldLayoutId id="2147483762" r:id="rId21"/>
    <p:sldLayoutId id="2147483763" r:id="rId22"/>
    <p:sldLayoutId id="2147483764" r:id="rId23"/>
    <p:sldLayoutId id="2147483765" r:id="rId24"/>
    <p:sldLayoutId id="2147483766" r:id="rId25"/>
    <p:sldLayoutId id="2147483767" r:id="rId26"/>
    <p:sldLayoutId id="2147483768" r:id="rId27"/>
    <p:sldLayoutId id="2147483769" r:id="rId28"/>
    <p:sldLayoutId id="2147483770" r:id="rId29"/>
    <p:sldLayoutId id="2147483771" r:id="rId30"/>
    <p:sldLayoutId id="2147483772" r:id="rId31"/>
    <p:sldLayoutId id="2147483773" r:id="rId32"/>
    <p:sldLayoutId id="2147483774" r:id="rId33"/>
    <p:sldLayoutId id="2147483775" r:id="rId34"/>
    <p:sldLayoutId id="2147483776" r:id="rId35"/>
    <p:sldLayoutId id="2147483777" r:id="rId36"/>
    <p:sldLayoutId id="2147483778" r:id="rId37"/>
    <p:sldLayoutId id="2147483779" r:id="rId38"/>
    <p:sldLayoutId id="2147483780" r:id="rId39"/>
    <p:sldLayoutId id="2147483798" r:id="rId40"/>
    <p:sldLayoutId id="2147483781" r:id="rId41"/>
    <p:sldLayoutId id="2147483802" r:id="rId42"/>
    <p:sldLayoutId id="2147483803" r:id="rId43"/>
  </p:sldLayoutIdLst>
  <p:hf sldNum="0" hdr="0" ftr="0" dt="0"/>
  <p:txStyles>
    <p:titleStyle>
      <a:lvl1pPr algn="l" defTabSz="457098" rtl="0" eaLnBrk="1" fontAlgn="base" hangingPunct="1">
        <a:spcBef>
          <a:spcPct val="0"/>
        </a:spcBef>
        <a:spcAft>
          <a:spcPct val="0"/>
        </a:spcAft>
        <a:defRPr sz="2400" b="1" kern="1200" cap="all" spc="-50" baseline="0">
          <a:solidFill>
            <a:schemeClr val="tx2"/>
          </a:solidFill>
          <a:latin typeface="Verdana"/>
          <a:ea typeface="Verdana" pitchFamily="34" charset="0"/>
          <a:cs typeface="Verdana" pitchFamily="34" charset="0"/>
        </a:defRPr>
      </a:lvl1pPr>
      <a:lvl2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2pPr>
      <a:lvl3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3pPr>
      <a:lvl4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4pPr>
      <a:lvl5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5pPr>
      <a:lvl6pPr marL="45709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6pPr>
      <a:lvl7pPr marL="914194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7pPr>
      <a:lvl8pPr marL="1371292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8pPr>
      <a:lvl9pPr marL="182838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9pPr>
    </p:titleStyle>
    <p:bodyStyle>
      <a:lvl1pPr marL="25195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kern="1200" spc="-50" baseline="0">
          <a:solidFill>
            <a:schemeClr val="tx1"/>
          </a:solidFill>
          <a:latin typeface="Verdana"/>
          <a:ea typeface="Verdana" pitchFamily="34" charset="0"/>
          <a:cs typeface="Verdana" pitchFamily="34" charset="0"/>
        </a:defRPr>
      </a:lvl1pPr>
      <a:lvl2pPr marL="64787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6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2pPr>
      <a:lvl3pPr marL="979004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3pPr>
      <a:lvl4pPr marL="0" indent="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18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4pPr>
      <a:lvl5pPr marL="0" indent="0" algn="l" defTabSz="457098" rtl="0" eaLnBrk="1" fontAlgn="base" hangingPunct="1">
        <a:lnSpc>
          <a:spcPct val="8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4799" b="1" kern="1200" cap="all" spc="-100" baseline="0">
          <a:solidFill>
            <a:schemeClr val="tx1"/>
          </a:solidFill>
          <a:latin typeface="Verdana"/>
          <a:ea typeface="Verdana" pitchFamily="34" charset="0"/>
          <a:cs typeface="+mn-cs"/>
        </a:defRPr>
      </a:lvl5pPr>
      <a:lvl6pPr marL="0" indent="0" algn="l" defTabSz="457098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​"/>
        <a:defRPr sz="1800" b="1" kern="1200" cap="all" spc="-5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57098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800" i="0" kern="1200" spc="-50">
          <a:solidFill>
            <a:schemeClr val="bg2"/>
          </a:solidFill>
          <a:latin typeface="+mn-lt"/>
          <a:ea typeface="+mn-ea"/>
          <a:cs typeface="+mn-cs"/>
        </a:defRPr>
      </a:lvl7pPr>
      <a:lvl8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rabi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8pPr>
      <a:lvl9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lphaU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659">
          <p15:clr>
            <a:srgbClr val="F26B43"/>
          </p15:clr>
        </p15:guide>
        <p15:guide id="2" pos="7173">
          <p15:clr>
            <a:srgbClr val="F26B43"/>
          </p15:clr>
        </p15:guide>
        <p15:guide id="3" orient="horz" pos="1036">
          <p15:clr>
            <a:srgbClr val="F26B43"/>
          </p15:clr>
        </p15:guide>
        <p15:guide id="4" orient="horz" pos="3595">
          <p15:clr>
            <a:srgbClr val="F26B43"/>
          </p15:clr>
        </p15:guide>
        <p15:guide id="5" pos="6146">
          <p15:clr>
            <a:srgbClr val="F26B43"/>
          </p15:clr>
        </p15:guide>
        <p15:guide id="6" pos="5633">
          <p15:clr>
            <a:srgbClr val="F26B43"/>
          </p15:clr>
        </p15:guide>
        <p15:guide id="7" pos="5120">
          <p15:clr>
            <a:srgbClr val="F26B43"/>
          </p15:clr>
        </p15:guide>
        <p15:guide id="8" pos="4607">
          <p15:clr>
            <a:srgbClr val="F26B43"/>
          </p15:clr>
        </p15:guide>
        <p15:guide id="9" pos="4094">
          <p15:clr>
            <a:srgbClr val="F26B43"/>
          </p15:clr>
        </p15:guide>
        <p15:guide id="10" pos="3581">
          <p15:clr>
            <a:srgbClr val="F26B43"/>
          </p15:clr>
        </p15:guide>
        <p15:guide id="11" pos="3068">
          <p15:clr>
            <a:srgbClr val="F26B43"/>
          </p15:clr>
        </p15:guide>
        <p15:guide id="12" pos="2555">
          <p15:clr>
            <a:srgbClr val="F26B43"/>
          </p15:clr>
        </p15:guide>
        <p15:guide id="13" pos="2042">
          <p15:clr>
            <a:srgbClr val="F26B43"/>
          </p15:clr>
        </p15:guide>
        <p15:guide id="14" pos="1529">
          <p15:clr>
            <a:srgbClr val="F26B43"/>
          </p15:clr>
        </p15:guide>
        <p15:guide id="15" pos="1016">
          <p15:clr>
            <a:srgbClr val="F26B43"/>
          </p15:clr>
        </p15:guide>
        <p15:guide id="16" pos="50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8D09097-4BE9-4909-843A-8D5934A243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5026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3" imgH="463" progId="TCLayout.ActiveDocument.1">
                  <p:embed/>
                </p:oleObj>
              </mc:Choice>
              <mc:Fallback>
                <p:oleObj name="think-cell Slide" r:id="rId4" imgW="463" imgH="4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8D09097-4BE9-4909-843A-8D5934A243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798618" y="312767"/>
            <a:ext cx="10590003" cy="748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/>
              <a:t>Presentation title</a:t>
            </a:r>
            <a:br>
              <a:rPr lang="en-GB" noProof="0"/>
            </a:br>
            <a:r>
              <a:rPr lang="en-GB" noProof="0"/>
              <a:t>(in cyan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 baseline="0"/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8617" y="1647826"/>
            <a:ext cx="10590003" cy="4059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4 No bullet text 18</a:t>
            </a:r>
          </a:p>
          <a:p>
            <a:pPr lvl="4"/>
            <a:r>
              <a:rPr lang="en-GB" noProof="0"/>
              <a:t>5 </a:t>
            </a:r>
            <a:r>
              <a:rPr lang="en-GB" noProof="0" err="1"/>
              <a:t>Megaheader</a:t>
            </a:r>
            <a:r>
              <a:rPr lang="en-GB" noProof="0"/>
              <a:t> caps 48</a:t>
            </a:r>
          </a:p>
          <a:p>
            <a:pPr lvl="5"/>
            <a:r>
              <a:rPr lang="en-GB" noProof="0"/>
              <a:t>6 Header caps 18</a:t>
            </a:r>
          </a:p>
          <a:p>
            <a:pPr lvl="6"/>
            <a:r>
              <a:rPr lang="en-GB" noProof="0"/>
              <a:t>7 Text 18</a:t>
            </a:r>
          </a:p>
          <a:p>
            <a:pPr lvl="7"/>
            <a:r>
              <a:rPr lang="en-GB" noProof="0"/>
              <a:t>8 Number 16</a:t>
            </a:r>
          </a:p>
          <a:p>
            <a:pPr lvl="8"/>
            <a:r>
              <a:rPr lang="en-GB" noProof="0"/>
              <a:t>9 Letter 16</a:t>
            </a:r>
          </a:p>
          <a:p>
            <a:pPr lvl="8"/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9E4955-7821-481C-9AF7-C7D9376755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/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ADC3E656-DC3F-4718-B1B2-E5B4B66615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E8A079D-0F01-4087-8466-404AA9697848}" type="datetime1">
              <a:rPr lang="da-DK" smtClean="0"/>
              <a:t>31-03-2022</a:t>
            </a:fld>
            <a:endParaRPr lang="da-DK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35459E-96A0-4D48-B1D9-A034EE07E024}"/>
              </a:ext>
            </a:extLst>
          </p:cNvPr>
          <p:cNvGrpSpPr/>
          <p:nvPr userDrawn="1"/>
        </p:nvGrpSpPr>
        <p:grpSpPr>
          <a:xfrm>
            <a:off x="-1972350" y="522085"/>
            <a:ext cx="1797025" cy="2906915"/>
            <a:chOff x="-1899137" y="-1"/>
            <a:chExt cx="1796791" cy="290758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DF113FF-8BE3-4207-A5C6-F4579EED1B78}"/>
                </a:ext>
              </a:extLst>
            </p:cNvPr>
            <p:cNvGrpSpPr/>
            <p:nvPr userDrawn="1"/>
          </p:nvGrpSpPr>
          <p:grpSpPr>
            <a:xfrm>
              <a:off x="-1899137" y="-1"/>
              <a:ext cx="1796791" cy="2907588"/>
              <a:chOff x="9009867" y="1645032"/>
              <a:chExt cx="2365739" cy="3828268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5359A05F-1860-4448-A740-55E89B6688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8399B32-2EE3-49AE-80A0-6797B01E89E6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6A251040-79B2-4E75-B580-29B9D6CC1B9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3193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25B3411-6214-4AE2-A1EF-BEE63EC00B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-1884053" y="1200637"/>
              <a:ext cx="1418614" cy="1444137"/>
            </a:xfrm>
            <a:prstGeom prst="rect">
              <a:avLst/>
            </a:prstGeom>
          </p:spPr>
        </p:pic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038C835D-7A3F-4157-850A-1556A9D8479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98617" y="6158174"/>
            <a:ext cx="2826826" cy="25554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515BF35-693E-4749-821E-5148CED147C8}"/>
              </a:ext>
            </a:extLst>
          </p:cNvPr>
          <p:cNvSpPr/>
          <p:nvPr userDrawn="1"/>
        </p:nvSpPr>
        <p:spPr>
          <a:xfrm>
            <a:off x="2052092" y="6141510"/>
            <a:ext cx="1573352" cy="2722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</p:sldLayoutIdLst>
  <p:hf sldNum="0" hdr="0" ft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400" b="1" kern="1200" cap="all" spc="-50" baseline="0">
          <a:solidFill>
            <a:schemeClr val="tx2"/>
          </a:solidFill>
          <a:latin typeface="Verdana"/>
          <a:ea typeface="Verdana" pitchFamily="34" charset="0"/>
          <a:cs typeface="Verdana" pitchFamily="34" charset="0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6pPr>
      <a:lvl7pPr marL="914377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9pPr>
    </p:titleStyle>
    <p:bodyStyle>
      <a:lvl1pPr marL="252000" indent="-25200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kern="1200" spc="-50" baseline="0">
          <a:solidFill>
            <a:schemeClr val="tx1"/>
          </a:solidFill>
          <a:latin typeface="Verdana"/>
          <a:ea typeface="Verdana" pitchFamily="34" charset="0"/>
          <a:cs typeface="Verdana" pitchFamily="34" charset="0"/>
        </a:defRPr>
      </a:lvl1pPr>
      <a:lvl2pPr marL="648000" indent="-25200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6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2pPr>
      <a:lvl3pPr marL="979200" indent="-25200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3pPr>
      <a:lvl4pPr marL="0" indent="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18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4pPr>
      <a:lvl5pPr marL="0" indent="0" algn="l" defTabSz="457189" rtl="0" eaLnBrk="1" fontAlgn="base" hangingPunct="1">
        <a:lnSpc>
          <a:spcPct val="8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4800" b="1" kern="1200" cap="all" spc="-100" baseline="0">
          <a:solidFill>
            <a:schemeClr val="tx1"/>
          </a:solidFill>
          <a:latin typeface="Verdana"/>
          <a:ea typeface="Verdana" pitchFamily="34" charset="0"/>
          <a:cs typeface="+mn-cs"/>
        </a:defRPr>
      </a:lvl5pPr>
      <a:lvl6pPr marL="0" indent="0" algn="l" defTabSz="457189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​"/>
        <a:defRPr sz="1800" b="1" kern="1200" cap="all" spc="-5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57189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800" i="0" kern="1200" spc="-50">
          <a:solidFill>
            <a:schemeClr val="bg2"/>
          </a:solidFill>
          <a:latin typeface="+mn-lt"/>
          <a:ea typeface="+mn-ea"/>
          <a:cs typeface="+mn-cs"/>
        </a:defRPr>
      </a:lvl7pPr>
      <a:lvl8pPr marL="648000" indent="-252000" algn="l" defTabSz="457189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rabi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52000" algn="l" defTabSz="457189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lphaU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660" userDrawn="1">
          <p15:clr>
            <a:srgbClr val="F26B43"/>
          </p15:clr>
        </p15:guide>
        <p15:guide id="2" pos="7174" userDrawn="1">
          <p15:clr>
            <a:srgbClr val="F26B43"/>
          </p15:clr>
        </p15:guide>
        <p15:guide id="3" orient="horz" pos="1036" userDrawn="1">
          <p15:clr>
            <a:srgbClr val="F26B43"/>
          </p15:clr>
        </p15:guide>
        <p15:guide id="4" orient="horz" pos="3594" userDrawn="1">
          <p15:clr>
            <a:srgbClr val="F26B43"/>
          </p15:clr>
        </p15:guide>
        <p15:guide id="5" pos="6147" userDrawn="1">
          <p15:clr>
            <a:srgbClr val="F26B43"/>
          </p15:clr>
        </p15:guide>
        <p15:guide id="6" pos="5634" userDrawn="1">
          <p15:clr>
            <a:srgbClr val="F26B43"/>
          </p15:clr>
        </p15:guide>
        <p15:guide id="7" pos="5121" userDrawn="1">
          <p15:clr>
            <a:srgbClr val="F26B43"/>
          </p15:clr>
        </p15:guide>
        <p15:guide id="8" pos="4608" userDrawn="1">
          <p15:clr>
            <a:srgbClr val="F26B43"/>
          </p15:clr>
        </p15:guide>
        <p15:guide id="9" pos="4095" userDrawn="1">
          <p15:clr>
            <a:srgbClr val="F26B43"/>
          </p15:clr>
        </p15:guide>
        <p15:guide id="10" pos="3581" userDrawn="1">
          <p15:clr>
            <a:srgbClr val="F26B43"/>
          </p15:clr>
        </p15:guide>
        <p15:guide id="11" pos="3068" userDrawn="1">
          <p15:clr>
            <a:srgbClr val="F26B43"/>
          </p15:clr>
        </p15:guide>
        <p15:guide id="12" pos="2555" userDrawn="1">
          <p15:clr>
            <a:srgbClr val="F26B43"/>
          </p15:clr>
        </p15:guide>
        <p15:guide id="13" pos="2042" userDrawn="1">
          <p15:clr>
            <a:srgbClr val="F26B43"/>
          </p15:clr>
        </p15:guide>
        <p15:guide id="14" pos="1529" userDrawn="1">
          <p15:clr>
            <a:srgbClr val="F26B43"/>
          </p15:clr>
        </p15:guide>
        <p15:guide id="15" pos="1016" userDrawn="1">
          <p15:clr>
            <a:srgbClr val="F26B43"/>
          </p15:clr>
        </p15:guide>
        <p15:guide id="16" pos="5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4.jpe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7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1.sv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8.xml"/><Relationship Id="rId6" Type="http://schemas.openxmlformats.org/officeDocument/2006/relationships/image" Target="../media/image40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43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18" Type="http://schemas.openxmlformats.org/officeDocument/2006/relationships/image" Target="../media/image56.sv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5.sv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54.svg"/><Relationship Id="rId20" Type="http://schemas.openxmlformats.org/officeDocument/2006/relationships/image" Target="../media/image58.svg"/><Relationship Id="rId1" Type="http://schemas.openxmlformats.org/officeDocument/2006/relationships/tags" Target="../tags/tag19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35.emf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19" Type="http://schemas.openxmlformats.org/officeDocument/2006/relationships/image" Target="../media/image57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7.svg"/><Relationship Id="rId14" Type="http://schemas.openxmlformats.org/officeDocument/2006/relationships/image" Target="../media/image52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3.png"/><Relationship Id="rId18" Type="http://schemas.openxmlformats.org/officeDocument/2006/relationships/image" Target="../media/image68.sv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0.svg"/><Relationship Id="rId12" Type="http://schemas.openxmlformats.org/officeDocument/2006/relationships/image" Target="../media/image50.png"/><Relationship Id="rId17" Type="http://schemas.openxmlformats.org/officeDocument/2006/relationships/image" Target="../media/image67.png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66.svg"/><Relationship Id="rId1" Type="http://schemas.openxmlformats.org/officeDocument/2006/relationships/tags" Target="../tags/tag20.xml"/><Relationship Id="rId6" Type="http://schemas.openxmlformats.org/officeDocument/2006/relationships/image" Target="../media/image59.png"/><Relationship Id="rId11" Type="http://schemas.openxmlformats.org/officeDocument/2006/relationships/image" Target="../media/image52.svg"/><Relationship Id="rId5" Type="http://schemas.openxmlformats.org/officeDocument/2006/relationships/image" Target="../media/image35.emf"/><Relationship Id="rId15" Type="http://schemas.openxmlformats.org/officeDocument/2006/relationships/image" Target="../media/image65.png"/><Relationship Id="rId10" Type="http://schemas.openxmlformats.org/officeDocument/2006/relationships/image" Target="../media/image51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62.svg"/><Relationship Id="rId14" Type="http://schemas.openxmlformats.org/officeDocument/2006/relationships/image" Target="../media/image64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53.png"/><Relationship Id="rId18" Type="http://schemas.openxmlformats.org/officeDocument/2006/relationships/image" Target="../media/image62.sv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70.svg"/><Relationship Id="rId12" Type="http://schemas.openxmlformats.org/officeDocument/2006/relationships/image" Target="../media/image50.png"/><Relationship Id="rId17" Type="http://schemas.openxmlformats.org/officeDocument/2006/relationships/image" Target="../media/image61.png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60.svg"/><Relationship Id="rId20" Type="http://schemas.openxmlformats.org/officeDocument/2006/relationships/image" Target="../media/image52.svg"/><Relationship Id="rId1" Type="http://schemas.openxmlformats.org/officeDocument/2006/relationships/tags" Target="../tags/tag21.xml"/><Relationship Id="rId6" Type="http://schemas.openxmlformats.org/officeDocument/2006/relationships/image" Target="../media/image69.png"/><Relationship Id="rId11" Type="http://schemas.openxmlformats.org/officeDocument/2006/relationships/image" Target="../media/image68.svg"/><Relationship Id="rId5" Type="http://schemas.openxmlformats.org/officeDocument/2006/relationships/image" Target="../media/image35.emf"/><Relationship Id="rId15" Type="http://schemas.openxmlformats.org/officeDocument/2006/relationships/image" Target="../media/image59.png"/><Relationship Id="rId10" Type="http://schemas.openxmlformats.org/officeDocument/2006/relationships/image" Target="../media/image67.png"/><Relationship Id="rId19" Type="http://schemas.openxmlformats.org/officeDocument/2006/relationships/image" Target="../media/image51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66.svg"/><Relationship Id="rId14" Type="http://schemas.openxmlformats.org/officeDocument/2006/relationships/image" Target="../media/image54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svg"/><Relationship Id="rId13" Type="http://schemas.openxmlformats.org/officeDocument/2006/relationships/image" Target="../media/image63.png"/><Relationship Id="rId18" Type="http://schemas.openxmlformats.org/officeDocument/2006/relationships/image" Target="../media/image62.sv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69.png"/><Relationship Id="rId12" Type="http://schemas.openxmlformats.org/officeDocument/2006/relationships/image" Target="../media/image71.svg"/><Relationship Id="rId17" Type="http://schemas.openxmlformats.org/officeDocument/2006/relationships/image" Target="../media/image73.png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60.svg"/><Relationship Id="rId20" Type="http://schemas.openxmlformats.org/officeDocument/2006/relationships/image" Target="../media/image75.svg"/><Relationship Id="rId1" Type="http://schemas.openxmlformats.org/officeDocument/2006/relationships/tags" Target="../tags/tag22.xml"/><Relationship Id="rId6" Type="http://schemas.openxmlformats.org/officeDocument/2006/relationships/image" Target="../media/image50.png"/><Relationship Id="rId11" Type="http://schemas.openxmlformats.org/officeDocument/2006/relationships/image" Target="../media/image57.png"/><Relationship Id="rId5" Type="http://schemas.openxmlformats.org/officeDocument/2006/relationships/image" Target="../media/image35.emf"/><Relationship Id="rId15" Type="http://schemas.openxmlformats.org/officeDocument/2006/relationships/image" Target="../media/image72.png"/><Relationship Id="rId10" Type="http://schemas.openxmlformats.org/officeDocument/2006/relationships/image" Target="../media/image66.svg"/><Relationship Id="rId19" Type="http://schemas.openxmlformats.org/officeDocument/2006/relationships/image" Target="../media/image74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65.png"/><Relationship Id="rId14" Type="http://schemas.openxmlformats.org/officeDocument/2006/relationships/image" Target="../media/image64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5.png"/><Relationship Id="rId18" Type="http://schemas.openxmlformats.org/officeDocument/2006/relationships/image" Target="../media/image64.svg"/><Relationship Id="rId26" Type="http://schemas.openxmlformats.org/officeDocument/2006/relationships/image" Target="../media/image52.svg"/><Relationship Id="rId3" Type="http://schemas.openxmlformats.org/officeDocument/2006/relationships/notesSlide" Target="../notesSlides/notesSlide17.xml"/><Relationship Id="rId21" Type="http://schemas.openxmlformats.org/officeDocument/2006/relationships/image" Target="../media/image59.png"/><Relationship Id="rId7" Type="http://schemas.openxmlformats.org/officeDocument/2006/relationships/image" Target="../media/image45.svg"/><Relationship Id="rId12" Type="http://schemas.openxmlformats.org/officeDocument/2006/relationships/image" Target="../media/image50.png"/><Relationship Id="rId17" Type="http://schemas.openxmlformats.org/officeDocument/2006/relationships/image" Target="../media/image63.png"/><Relationship Id="rId25" Type="http://schemas.openxmlformats.org/officeDocument/2006/relationships/image" Target="../media/image51.png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70.svg"/><Relationship Id="rId20" Type="http://schemas.openxmlformats.org/officeDocument/2006/relationships/image" Target="../media/image68.svg"/><Relationship Id="rId1" Type="http://schemas.openxmlformats.org/officeDocument/2006/relationships/tags" Target="../tags/tag23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24" Type="http://schemas.openxmlformats.org/officeDocument/2006/relationships/image" Target="../media/image62.svg"/><Relationship Id="rId5" Type="http://schemas.openxmlformats.org/officeDocument/2006/relationships/image" Target="../media/image35.emf"/><Relationship Id="rId15" Type="http://schemas.openxmlformats.org/officeDocument/2006/relationships/image" Target="../media/image69.png"/><Relationship Id="rId23" Type="http://schemas.openxmlformats.org/officeDocument/2006/relationships/image" Target="../media/image61.png"/><Relationship Id="rId10" Type="http://schemas.openxmlformats.org/officeDocument/2006/relationships/image" Target="../media/image48.png"/><Relationship Id="rId19" Type="http://schemas.openxmlformats.org/officeDocument/2006/relationships/image" Target="../media/image67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47.svg"/><Relationship Id="rId14" Type="http://schemas.openxmlformats.org/officeDocument/2006/relationships/image" Target="../media/image56.svg"/><Relationship Id="rId22" Type="http://schemas.openxmlformats.org/officeDocument/2006/relationships/image" Target="../media/image60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13" Type="http://schemas.openxmlformats.org/officeDocument/2006/relationships/image" Target="../media/image51.png"/><Relationship Id="rId3" Type="http://schemas.openxmlformats.org/officeDocument/2006/relationships/slideLayout" Target="../slideLayouts/slideLayout45.xml"/><Relationship Id="rId7" Type="http://schemas.openxmlformats.org/officeDocument/2006/relationships/oleObject" Target="../embeddings/oleObject17.bin"/><Relationship Id="rId12" Type="http://schemas.openxmlformats.org/officeDocument/2006/relationships/image" Target="../media/image82.svg"/><Relationship Id="rId2" Type="http://schemas.openxmlformats.org/officeDocument/2006/relationships/tags" Target="../tags/tag25.xml"/><Relationship Id="rId16" Type="http://schemas.openxmlformats.org/officeDocument/2006/relationships/image" Target="../media/image54.svg"/><Relationship Id="rId1" Type="http://schemas.openxmlformats.org/officeDocument/2006/relationships/tags" Target="../tags/tag24.xml"/><Relationship Id="rId6" Type="http://schemas.openxmlformats.org/officeDocument/2006/relationships/image" Target="../media/image77.svg"/><Relationship Id="rId11" Type="http://schemas.openxmlformats.org/officeDocument/2006/relationships/image" Target="../media/image81.png"/><Relationship Id="rId5" Type="http://schemas.openxmlformats.org/officeDocument/2006/relationships/image" Target="../media/image76.png"/><Relationship Id="rId15" Type="http://schemas.openxmlformats.org/officeDocument/2006/relationships/image" Target="../media/image53.png"/><Relationship Id="rId10" Type="http://schemas.openxmlformats.org/officeDocument/2006/relationships/image" Target="../media/image80.sv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79.png"/><Relationship Id="rId14" Type="http://schemas.openxmlformats.org/officeDocument/2006/relationships/image" Target="../media/image52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84.sv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26.xml"/><Relationship Id="rId6" Type="http://schemas.openxmlformats.org/officeDocument/2006/relationships/image" Target="../media/image83.png"/><Relationship Id="rId5" Type="http://schemas.openxmlformats.org/officeDocument/2006/relationships/image" Target="../media/image78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84.sv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27.xml"/><Relationship Id="rId6" Type="http://schemas.openxmlformats.org/officeDocument/2006/relationships/image" Target="../media/image83.png"/><Relationship Id="rId5" Type="http://schemas.openxmlformats.org/officeDocument/2006/relationships/image" Target="../media/image78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86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84.sv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28.xml"/><Relationship Id="rId6" Type="http://schemas.openxmlformats.org/officeDocument/2006/relationships/image" Target="../media/image83.png"/><Relationship Id="rId11" Type="http://schemas.openxmlformats.org/officeDocument/2006/relationships/image" Target="../media/image88.svg"/><Relationship Id="rId5" Type="http://schemas.openxmlformats.org/officeDocument/2006/relationships/image" Target="../media/image78.emf"/><Relationship Id="rId10" Type="http://schemas.openxmlformats.org/officeDocument/2006/relationships/image" Target="../media/image87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86.sv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1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.emf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5" Type="http://schemas.openxmlformats.org/officeDocument/2006/relationships/chart" Target="../charts/chart1.xml"/><Relationship Id="rId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chart" Target="../charts/chart2.xml"/><Relationship Id="rId4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5" Type="http://schemas.openxmlformats.org/officeDocument/2006/relationships/chart" Target="../charts/chart3.xml"/><Relationship Id="rId4" Type="http://schemas.openxmlformats.org/officeDocument/2006/relationships/image" Target="../media/image2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0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05B6BB-0CE3-45BA-9697-967F98CF0F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5931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63" imgH="463" progId="TCLayout.ActiveDocument.1">
                  <p:embed/>
                </p:oleObj>
              </mc:Choice>
              <mc:Fallback>
                <p:oleObj name="think-cell Slide" r:id="rId5" imgW="463" imgH="4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05B6BB-0CE3-45BA-9697-967F98CF0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lede 2">
            <a:extLst>
              <a:ext uri="{FF2B5EF4-FFF2-40B4-BE49-F238E27FC236}">
                <a16:creationId xmlns:a16="http://schemas.microsoft.com/office/drawing/2014/main" id="{58B37535-36FB-4C7F-9D31-FDA75254A6D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7"/>
          <a:srcRect t="4968" b="10667"/>
          <a:stretch/>
        </p:blipFill>
        <p:spPr>
          <a:xfrm>
            <a:off x="4408" y="0"/>
            <a:ext cx="12187592" cy="6858000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D91E5D6-CB9B-43CC-A8E2-A37E2EE494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chemeClr val="tx2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9" tIns="45709" rIns="91419" bIns="45709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z="3199" b="1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4CDDE12-1FBD-4786-8E67-E74CCA7EA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167" y="7055139"/>
            <a:ext cx="10546356" cy="748627"/>
          </a:xfrm>
        </p:spPr>
        <p:txBody>
          <a:bodyPr vert="horz"/>
          <a:lstStyle/>
          <a:p>
            <a:r>
              <a:rPr lang="da-DK"/>
              <a:t>”grimme slides” til brug for præsentation d. 1. april 2022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0B12D1-C474-44EB-A0AA-C80EB2CA3616}"/>
              </a:ext>
            </a:extLst>
          </p:cNvPr>
          <p:cNvSpPr txBox="1"/>
          <p:nvPr/>
        </p:nvSpPr>
        <p:spPr>
          <a:xfrm>
            <a:off x="2236592" y="3657968"/>
            <a:ext cx="8813800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nn-NO" sz="5400" b="1" spc="-50">
                <a:solidFill>
                  <a:srgbClr val="FFFFFF"/>
                </a:solidFill>
                <a:latin typeface="Verdana"/>
              </a:rPr>
              <a:t>DANSKE </a:t>
            </a:r>
            <a:br>
              <a:rPr lang="nn-NO" sz="5400" b="1" spc="-50">
                <a:solidFill>
                  <a:srgbClr val="FFFFFF"/>
                </a:solidFill>
                <a:latin typeface="Verdana"/>
              </a:rPr>
            </a:br>
            <a:r>
              <a:rPr lang="nn-NO" sz="5400" b="1" spc="-50">
                <a:solidFill>
                  <a:srgbClr val="FFFFFF"/>
                </a:solidFill>
                <a:latin typeface="Verdana"/>
              </a:rPr>
              <a:t>TESTFACILITETER</a:t>
            </a:r>
            <a:br>
              <a:rPr lang="nn-NO" sz="5400" spc="-50">
                <a:latin typeface="Verdana"/>
              </a:rPr>
            </a:br>
            <a:endParaRPr lang="da-DK" sz="6000" b="1" spc="-50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2D4934-24C5-4EC2-9A74-1CEE22154A3D}"/>
              </a:ext>
            </a:extLst>
          </p:cNvPr>
          <p:cNvCxnSpPr/>
          <p:nvPr/>
        </p:nvCxnSpPr>
        <p:spPr>
          <a:xfrm>
            <a:off x="2044700" y="3019807"/>
            <a:ext cx="0" cy="224391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2B1C0E12-9869-4E78-9CE5-B4C7CC70EA7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2649" y="6108700"/>
            <a:ext cx="1073217" cy="226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5199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05B6BB-0CE3-45BA-9697-967F98CF0F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63" imgH="463" progId="TCLayout.ActiveDocument.1">
                  <p:embed/>
                </p:oleObj>
              </mc:Choice>
              <mc:Fallback>
                <p:oleObj name="think-cell Slide" r:id="rId5" imgW="463" imgH="4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05B6BB-0CE3-45BA-9697-967F98CF0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lede 2">
            <a:extLst>
              <a:ext uri="{FF2B5EF4-FFF2-40B4-BE49-F238E27FC236}">
                <a16:creationId xmlns:a16="http://schemas.microsoft.com/office/drawing/2014/main" id="{58B37535-36FB-4C7F-9D31-FDA75254A6D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75" b="7775"/>
          <a:stretch/>
        </p:blipFill>
        <p:spPr>
          <a:xfrm>
            <a:off x="4408" y="0"/>
            <a:ext cx="12187592" cy="6858000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D91E5D6-CB9B-43CC-A8E2-A37E2EE4940F}"/>
              </a:ext>
            </a:extLst>
          </p:cNvPr>
          <p:cNvSpPr/>
          <p:nvPr/>
        </p:nvSpPr>
        <p:spPr>
          <a:xfrm>
            <a:off x="-4408" y="0"/>
            <a:ext cx="12192000" cy="6858000"/>
          </a:xfrm>
          <a:prstGeom prst="roundRect">
            <a:avLst>
              <a:gd name="adj" fmla="val 0"/>
            </a:avLst>
          </a:prstGeom>
          <a:solidFill>
            <a:schemeClr val="tx2">
              <a:alpha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9" tIns="45709" rIns="91419" bIns="45709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z="3199" b="1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0B12D1-C474-44EB-A0AA-C80EB2CA3616}"/>
              </a:ext>
            </a:extLst>
          </p:cNvPr>
          <p:cNvSpPr txBox="1"/>
          <p:nvPr/>
        </p:nvSpPr>
        <p:spPr>
          <a:xfrm>
            <a:off x="2249118" y="3056719"/>
            <a:ext cx="8813800" cy="24314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en-US" sz="5400" spc="-50">
              <a:solidFill>
                <a:srgbClr val="FFFFFF"/>
              </a:solidFill>
              <a:latin typeface="Verdana"/>
            </a:endParaRPr>
          </a:p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r>
              <a:rPr lang="en-US" sz="4400" b="1" spc="-50">
                <a:solidFill>
                  <a:srgbClr val="FFFFFF"/>
                </a:solidFill>
                <a:latin typeface="Verdana"/>
              </a:rPr>
              <a:t>GAP-ANALYSEN OG</a:t>
            </a:r>
            <a:br>
              <a:rPr lang="en-US" sz="4400" b="1" spc="-50">
                <a:solidFill>
                  <a:srgbClr val="FFFFFF"/>
                </a:solidFill>
                <a:latin typeface="Verdana"/>
              </a:rPr>
            </a:br>
            <a:r>
              <a:rPr lang="en-US" sz="4400" b="1" spc="-50">
                <a:solidFill>
                  <a:srgbClr val="FFFFFF"/>
                </a:solidFill>
                <a:latin typeface="Verdana"/>
              </a:rPr>
              <a:t>INTERNATIONALE STUDIER</a:t>
            </a:r>
            <a:endParaRPr lang="da-DK" sz="4800" b="1" spc="-50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2D4934-24C5-4EC2-9A74-1CEE22154A3D}"/>
              </a:ext>
            </a:extLst>
          </p:cNvPr>
          <p:cNvCxnSpPr/>
          <p:nvPr/>
        </p:nvCxnSpPr>
        <p:spPr>
          <a:xfrm>
            <a:off x="2032174" y="3150478"/>
            <a:ext cx="0" cy="224391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4C5B04F-1C54-49B8-8310-FEB0CCA5B4F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2649" y="6108700"/>
            <a:ext cx="1073217" cy="226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7247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F04EEC9-518A-4A52-B5E9-56808A80F25E}"/>
              </a:ext>
            </a:extLst>
          </p:cNvPr>
          <p:cNvSpPr/>
          <p:nvPr/>
        </p:nvSpPr>
        <p:spPr>
          <a:xfrm>
            <a:off x="-101600" y="0"/>
            <a:ext cx="11620500" cy="1585959"/>
          </a:xfrm>
          <a:prstGeom prst="rect">
            <a:avLst/>
          </a:prstGeom>
          <a:solidFill>
            <a:srgbClr val="009D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rapezoid 2">
            <a:extLst>
              <a:ext uri="{FF2B5EF4-FFF2-40B4-BE49-F238E27FC236}">
                <a16:creationId xmlns:a16="http://schemas.microsoft.com/office/drawing/2014/main" id="{ACC1BF68-1AE3-49C5-BB64-F233E6FF4F25}"/>
              </a:ext>
            </a:extLst>
          </p:cNvPr>
          <p:cNvSpPr/>
          <p:nvPr/>
        </p:nvSpPr>
        <p:spPr>
          <a:xfrm>
            <a:off x="774700" y="4610100"/>
            <a:ext cx="10613920" cy="582660"/>
          </a:xfrm>
          <a:prstGeom prst="trapezoid">
            <a:avLst>
              <a:gd name="adj" fmla="val 110007"/>
            </a:avLst>
          </a:prstGeom>
          <a:solidFill>
            <a:schemeClr val="accent6"/>
          </a:solidFill>
          <a:ln>
            <a:noFill/>
          </a:ln>
          <a:effectLst>
            <a:outerShdw blurRad="139700" dist="190500" dir="198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33C8D95-8565-4B26-9A8E-34482A23CB10}"/>
              </a:ext>
            </a:extLst>
          </p:cNvPr>
          <p:cNvSpPr/>
          <p:nvPr/>
        </p:nvSpPr>
        <p:spPr>
          <a:xfrm>
            <a:off x="774700" y="5192760"/>
            <a:ext cx="10613920" cy="349646"/>
          </a:xfrm>
          <a:prstGeom prst="rect">
            <a:avLst/>
          </a:prstGeom>
          <a:solidFill>
            <a:srgbClr val="A8A69B"/>
          </a:solidFill>
          <a:ln>
            <a:noFill/>
          </a:ln>
          <a:effectLst>
            <a:outerShdw blurRad="139700" dist="190500" dir="1980000" algn="tl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AA888C-20EB-4829-9C30-7FB51C925B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0" imgH="393" progId="TCLayout.ActiveDocument.1">
                  <p:embed/>
                </p:oleObj>
              </mc:Choice>
              <mc:Fallback>
                <p:oleObj name="think-cell Slide" r:id="rId4" imgW="400" imgH="3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BAA888C-20EB-4829-9C30-7FB51C925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E4FBD32D-CDF1-4BF4-BE4D-184CC03743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292" y="2326662"/>
            <a:ext cx="1925539" cy="2559758"/>
          </a:xfrm>
          <a:prstGeom prst="rect">
            <a:avLst/>
          </a:prstGeom>
          <a:effectLst>
            <a:outerShdw blurRad="139700" dist="190500" dir="1980000" algn="bl" rotWithShape="0">
              <a:prstClr val="black">
                <a:alpha val="1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B18B745-D849-42AF-BA4F-71C3D42A38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4980" y="2324101"/>
            <a:ext cx="1910728" cy="2562320"/>
          </a:xfrm>
          <a:prstGeom prst="rect">
            <a:avLst/>
          </a:prstGeom>
          <a:effectLst>
            <a:outerShdw blurRad="139700" dist="190500" dir="1980000" algn="bl" rotWithShape="0">
              <a:prstClr val="black">
                <a:alpha val="1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8DC20AA-0D44-41EE-BFE1-6DDC452B553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44655" y="2324099"/>
            <a:ext cx="1856078" cy="2562321"/>
          </a:xfrm>
          <a:prstGeom prst="rect">
            <a:avLst/>
          </a:prstGeom>
          <a:effectLst>
            <a:outerShdw blurRad="139700" dist="190500" dir="1980000" algn="bl" rotWithShape="0">
              <a:prstClr val="black">
                <a:alpha val="10000"/>
              </a:prst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A626D23-5B16-4FFF-9535-B4D732A96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EEFFE44C-57D5-4429-9EB6-80FCCEBB3E95}"/>
              </a:ext>
            </a:extLst>
          </p:cNvPr>
          <p:cNvSpPr txBox="1">
            <a:spLocks/>
          </p:cNvSpPr>
          <p:nvPr/>
        </p:nvSpPr>
        <p:spPr>
          <a:xfrm>
            <a:off x="457200" y="421879"/>
            <a:ext cx="106553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400">
                <a:solidFill>
                  <a:schemeClr val="bg1"/>
                </a:solidFill>
              </a:rPr>
              <a:t>På tværs af tidligere studier, rapporter og undersøgelser konkluderes det, </a:t>
            </a:r>
            <a:r>
              <a:rPr lang="da-DK" sz="2400" b="1">
                <a:solidFill>
                  <a:schemeClr val="bg1"/>
                </a:solidFill>
              </a:rPr>
              <a:t>at der generelt mangler TDU-faciliteter i Danmark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B550077-AC44-43C9-9EE6-D80B5DAB72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10962" y="2324100"/>
            <a:ext cx="1858194" cy="2562320"/>
          </a:xfrm>
          <a:prstGeom prst="rect">
            <a:avLst/>
          </a:prstGeom>
          <a:effectLst>
            <a:outerShdw blurRad="139700" dist="190500" dir="1980000" algn="bl" rotWithShape="0">
              <a:prstClr val="black">
                <a:alpha val="1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203024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0913050F-634E-473F-A07E-3D44D1A5032A}"/>
              </a:ext>
            </a:extLst>
          </p:cNvPr>
          <p:cNvSpPr/>
          <p:nvPr/>
        </p:nvSpPr>
        <p:spPr>
          <a:xfrm>
            <a:off x="2411864" y="3213100"/>
            <a:ext cx="1285938" cy="19304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18262DAD-2D46-4B32-B1F7-AE212D0767EA}"/>
              </a:ext>
            </a:extLst>
          </p:cNvPr>
          <p:cNvSpPr/>
          <p:nvPr/>
        </p:nvSpPr>
        <p:spPr>
          <a:xfrm>
            <a:off x="3825509" y="6196165"/>
            <a:ext cx="4081380" cy="430887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C6C43548-6054-4D40-8711-3C9F2ACD7AF5}"/>
              </a:ext>
            </a:extLst>
          </p:cNvPr>
          <p:cNvSpPr/>
          <p:nvPr/>
        </p:nvSpPr>
        <p:spPr>
          <a:xfrm>
            <a:off x="3825509" y="1875859"/>
            <a:ext cx="4081380" cy="430887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D2CCCF8-1077-4B36-9420-0AF7B42985EC}"/>
              </a:ext>
            </a:extLst>
          </p:cNvPr>
          <p:cNvSpPr/>
          <p:nvPr/>
        </p:nvSpPr>
        <p:spPr>
          <a:xfrm>
            <a:off x="8034594" y="3213100"/>
            <a:ext cx="1285938" cy="19304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4B4833-00DC-470F-98F3-DA2F962E73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0" imgH="393" progId="TCLayout.ActiveDocument.1">
                  <p:embed/>
                </p:oleObj>
              </mc:Choice>
              <mc:Fallback>
                <p:oleObj name="think-cell Slide" r:id="rId4" imgW="400" imgH="3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24B4833-00DC-470F-98F3-DA2F962E7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F8B4C64-C8CB-4B60-BC83-3C523DC74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91030"/>
            <a:ext cx="10483200" cy="936000"/>
          </a:xfrm>
        </p:spPr>
        <p:txBody>
          <a:bodyPr vert="horz"/>
          <a:lstStyle/>
          <a:p>
            <a:r>
              <a:rPr lang="da-DK" sz="2800" b="0" cap="none" dirty="0">
                <a:latin typeface="+mj-lt"/>
                <a:ea typeface="+mj-ea"/>
                <a:cs typeface="+mj-cs"/>
              </a:rPr>
              <a:t>Oplevelsen af manglende testfaciliteter afhænger af virksomhedsstørrelse og branch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B30A95-5AF9-4BF2-ABC5-A5B2142E0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5A483B6-6290-4C22-A066-BEA922E2317E}"/>
              </a:ext>
            </a:extLst>
          </p:cNvPr>
          <p:cNvSpPr txBox="1"/>
          <p:nvPr/>
        </p:nvSpPr>
        <p:spPr>
          <a:xfrm>
            <a:off x="4392198" y="1979055"/>
            <a:ext cx="3003273" cy="2211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400" i="1" u="sng"/>
              <a:t>Oplever</a:t>
            </a:r>
            <a:r>
              <a:rPr lang="da-DK" sz="1400" i="1"/>
              <a:t> mangel af TDU-facilite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42FC8C8-8640-4633-B246-AA993F15E507}"/>
              </a:ext>
            </a:extLst>
          </p:cNvPr>
          <p:cNvSpPr txBox="1"/>
          <p:nvPr/>
        </p:nvSpPr>
        <p:spPr>
          <a:xfrm>
            <a:off x="3825508" y="6269990"/>
            <a:ext cx="408138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400" i="1" u="sng"/>
              <a:t>Oplever IKKE</a:t>
            </a:r>
            <a:r>
              <a:rPr lang="da-DK" sz="1400" i="1"/>
              <a:t> mangel på TDU-facilitete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675A7D0-6843-4311-97BF-AB2941182541}"/>
              </a:ext>
            </a:extLst>
          </p:cNvPr>
          <p:cNvSpPr txBox="1"/>
          <p:nvPr/>
        </p:nvSpPr>
        <p:spPr>
          <a:xfrm>
            <a:off x="2525732" y="4166807"/>
            <a:ext cx="1058202" cy="4423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400" i="1"/>
              <a:t>Lille virksomhe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F3FB52A-481B-4E99-A027-B3FAED9B0A98}"/>
              </a:ext>
            </a:extLst>
          </p:cNvPr>
          <p:cNvSpPr txBox="1"/>
          <p:nvPr/>
        </p:nvSpPr>
        <p:spPr>
          <a:xfrm>
            <a:off x="8050757" y="4164406"/>
            <a:ext cx="126977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400" i="1"/>
              <a:t>Stor virksomhe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EDAE218-E3A4-41E4-BA03-607230E80885}"/>
              </a:ext>
            </a:extLst>
          </p:cNvPr>
          <p:cNvSpPr/>
          <p:nvPr/>
        </p:nvSpPr>
        <p:spPr>
          <a:xfrm>
            <a:off x="3825508" y="2388715"/>
            <a:ext cx="1981823" cy="1779354"/>
          </a:xfrm>
          <a:prstGeom prst="rect">
            <a:avLst/>
          </a:prstGeom>
          <a:solidFill>
            <a:srgbClr val="00B0F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C5D0234-7048-4E0B-834D-9959AA5072B4}"/>
              </a:ext>
            </a:extLst>
          </p:cNvPr>
          <p:cNvSpPr/>
          <p:nvPr/>
        </p:nvSpPr>
        <p:spPr>
          <a:xfrm>
            <a:off x="3825508" y="4313105"/>
            <a:ext cx="1981823" cy="1801091"/>
          </a:xfrm>
          <a:prstGeom prst="rect">
            <a:avLst/>
          </a:prstGeom>
          <a:solidFill>
            <a:srgbClr val="224A7F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5326E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29E944E-D4ED-41DB-AA5F-11379DFAD0D9}"/>
              </a:ext>
            </a:extLst>
          </p:cNvPr>
          <p:cNvSpPr/>
          <p:nvPr/>
        </p:nvSpPr>
        <p:spPr>
          <a:xfrm>
            <a:off x="5930583" y="4313105"/>
            <a:ext cx="1981823" cy="180109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2EE708F-3CD5-48B7-9BBD-0C2C0F1FE347}"/>
              </a:ext>
            </a:extLst>
          </p:cNvPr>
          <p:cNvSpPr/>
          <p:nvPr/>
        </p:nvSpPr>
        <p:spPr>
          <a:xfrm>
            <a:off x="5925065" y="2388715"/>
            <a:ext cx="1981823" cy="1801091"/>
          </a:xfrm>
          <a:prstGeom prst="rect">
            <a:avLst/>
          </a:prstGeom>
          <a:solidFill>
            <a:srgbClr val="224A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1D4448C-0F41-484A-A4DF-7764D15ADD1B}"/>
              </a:ext>
            </a:extLst>
          </p:cNvPr>
          <p:cNvSpPr txBox="1"/>
          <p:nvPr/>
        </p:nvSpPr>
        <p:spPr>
          <a:xfrm>
            <a:off x="3828794" y="3062948"/>
            <a:ext cx="197853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400">
                <a:solidFill>
                  <a:schemeClr val="bg1"/>
                </a:solidFill>
              </a:rPr>
              <a:t>Startup inden for velfærdsteknologi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ABABB8A-0A1F-4834-9CC9-921168859E74}"/>
              </a:ext>
            </a:extLst>
          </p:cNvPr>
          <p:cNvSpPr txBox="1"/>
          <p:nvPr/>
        </p:nvSpPr>
        <p:spPr>
          <a:xfrm>
            <a:off x="6047253" y="2980980"/>
            <a:ext cx="179871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400">
                <a:solidFill>
                  <a:schemeClr val="bg1"/>
                </a:solidFill>
              </a:rPr>
              <a:t>SMV’er med behov for test i ”real </a:t>
            </a:r>
            <a:r>
              <a:rPr lang="da-DK" sz="1400" err="1">
                <a:solidFill>
                  <a:schemeClr val="bg1"/>
                </a:solidFill>
              </a:rPr>
              <a:t>world</a:t>
            </a:r>
            <a:r>
              <a:rPr lang="da-DK" sz="1400">
                <a:solidFill>
                  <a:schemeClr val="bg1"/>
                </a:solidFill>
              </a:rPr>
              <a:t>-miljø”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6A12414-B26A-46A5-A75B-A01555425B6C}"/>
              </a:ext>
            </a:extLst>
          </p:cNvPr>
          <p:cNvSpPr txBox="1"/>
          <p:nvPr/>
        </p:nvSpPr>
        <p:spPr>
          <a:xfrm>
            <a:off x="6060895" y="4817302"/>
            <a:ext cx="170135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400" dirty="0">
                <a:solidFill>
                  <a:schemeClr val="bg1"/>
                </a:solidFill>
              </a:rPr>
              <a:t>International </a:t>
            </a:r>
            <a:r>
              <a:rPr lang="da-DK" sz="1400" dirty="0" err="1">
                <a:solidFill>
                  <a:schemeClr val="bg1"/>
                </a:solidFill>
              </a:rPr>
              <a:t>life</a:t>
            </a:r>
            <a:r>
              <a:rPr lang="da-DK" sz="1400" dirty="0">
                <a:solidFill>
                  <a:schemeClr val="bg1"/>
                </a:solidFill>
              </a:rPr>
              <a:t> science virksomhe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2E3E69E-68B8-4670-B754-A7E3FBDFE8E8}"/>
              </a:ext>
            </a:extLst>
          </p:cNvPr>
          <p:cNvSpPr txBox="1"/>
          <p:nvPr/>
        </p:nvSpPr>
        <p:spPr>
          <a:xfrm>
            <a:off x="4218852" y="4817301"/>
            <a:ext cx="119513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400" dirty="0">
                <a:solidFill>
                  <a:schemeClr val="bg1"/>
                </a:solidFill>
              </a:rPr>
              <a:t>Startup inden for </a:t>
            </a:r>
            <a:r>
              <a:rPr lang="da-DK" sz="1400" dirty="0" err="1">
                <a:solidFill>
                  <a:schemeClr val="bg1"/>
                </a:solidFill>
              </a:rPr>
              <a:t>life</a:t>
            </a:r>
            <a:r>
              <a:rPr lang="da-DK" sz="1400" dirty="0">
                <a:solidFill>
                  <a:schemeClr val="bg1"/>
                </a:solidFill>
              </a:rPr>
              <a:t> science</a:t>
            </a:r>
          </a:p>
        </p:txBody>
      </p:sp>
      <p:pic>
        <p:nvPicPr>
          <p:cNvPr id="7" name="Graphic 6" descr="Man with solid fill">
            <a:extLst>
              <a:ext uri="{FF2B5EF4-FFF2-40B4-BE49-F238E27FC236}">
                <a16:creationId xmlns:a16="http://schemas.microsoft.com/office/drawing/2014/main" id="{8B24BAF7-F7F8-4EF9-B6CB-264C5BC2D0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28930" y="3383039"/>
            <a:ext cx="701119" cy="701119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24D8E109-1024-40F0-A10C-E089778F25D7}"/>
              </a:ext>
            </a:extLst>
          </p:cNvPr>
          <p:cNvGrpSpPr/>
          <p:nvPr/>
        </p:nvGrpSpPr>
        <p:grpSpPr>
          <a:xfrm>
            <a:off x="8050757" y="3350056"/>
            <a:ext cx="1166482" cy="701119"/>
            <a:chOff x="9315014" y="3746629"/>
            <a:chExt cx="1166482" cy="701119"/>
          </a:xfrm>
        </p:grpSpPr>
        <p:pic>
          <p:nvPicPr>
            <p:cNvPr id="50" name="Graphic 49" descr="Man with solid fill">
              <a:extLst>
                <a:ext uri="{FF2B5EF4-FFF2-40B4-BE49-F238E27FC236}">
                  <a16:creationId xmlns:a16="http://schemas.microsoft.com/office/drawing/2014/main" id="{EBEE24A4-6992-464E-A832-FD946DC8392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315014" y="3868049"/>
              <a:ext cx="574935" cy="574935"/>
            </a:xfrm>
            <a:prstGeom prst="rect">
              <a:avLst/>
            </a:prstGeom>
          </p:spPr>
        </p:pic>
        <p:pic>
          <p:nvPicPr>
            <p:cNvPr id="49" name="Graphic 48" descr="Man with solid fill">
              <a:extLst>
                <a:ext uri="{FF2B5EF4-FFF2-40B4-BE49-F238E27FC236}">
                  <a16:creationId xmlns:a16="http://schemas.microsoft.com/office/drawing/2014/main" id="{73116A70-F8F2-40D4-B7C0-78D7BC9C6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906561" y="3854895"/>
              <a:ext cx="574935" cy="574935"/>
            </a:xfrm>
            <a:prstGeom prst="rect">
              <a:avLst/>
            </a:prstGeom>
          </p:spPr>
        </p:pic>
        <p:pic>
          <p:nvPicPr>
            <p:cNvPr id="48" name="Graphic 47" descr="Man with solid fill">
              <a:extLst>
                <a:ext uri="{FF2B5EF4-FFF2-40B4-BE49-F238E27FC236}">
                  <a16:creationId xmlns:a16="http://schemas.microsoft.com/office/drawing/2014/main" id="{35B89A3B-011B-4439-8CE6-422B68A9C4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545248" y="3746629"/>
              <a:ext cx="701119" cy="701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975825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B7E7B85B-CF63-4473-B930-1A73495DE9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0" imgH="393" progId="TCLayout.ActiveDocument.1">
                  <p:embed/>
                </p:oleObj>
              </mc:Choice>
              <mc:Fallback>
                <p:oleObj name="think-cell Slide" r:id="rId4" imgW="400" imgH="393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B7E7B85B-CF63-4473-B930-1A73495DE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0A07BD-E120-437B-BE84-4B44385DC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B854C339-1E7E-42C9-A1E2-868ABD64E2A5}"/>
              </a:ext>
            </a:extLst>
          </p:cNvPr>
          <p:cNvSpPr txBox="1">
            <a:spLocks/>
          </p:cNvSpPr>
          <p:nvPr/>
        </p:nvSpPr>
        <p:spPr>
          <a:xfrm>
            <a:off x="358775" y="39103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Der er inden for </a:t>
            </a:r>
            <a:r>
              <a:rPr lang="da-DK" dirty="0" err="1"/>
              <a:t>life</a:t>
            </a:r>
            <a:r>
              <a:rPr lang="da-DK" dirty="0"/>
              <a:t> science og velfærdsteknologi identificeret fire overordnede barrierer 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D04A3A8-D1DE-45A2-9499-3B5CBC0A47B1}"/>
              </a:ext>
            </a:extLst>
          </p:cNvPr>
          <p:cNvGrpSpPr/>
          <p:nvPr/>
        </p:nvGrpSpPr>
        <p:grpSpPr>
          <a:xfrm>
            <a:off x="6769775" y="2399836"/>
            <a:ext cx="5040626" cy="2557592"/>
            <a:chOff x="6769775" y="2399836"/>
            <a:chExt cx="5040626" cy="2557592"/>
          </a:xfrm>
        </p:grpSpPr>
        <p:sp>
          <p:nvSpPr>
            <p:cNvPr id="46" name="Rounded Rectangle 41">
              <a:extLst>
                <a:ext uri="{FF2B5EF4-FFF2-40B4-BE49-F238E27FC236}">
                  <a16:creationId xmlns:a16="http://schemas.microsoft.com/office/drawing/2014/main" id="{B0190E09-74A1-4D8D-84D4-953E521673F2}"/>
                </a:ext>
              </a:extLst>
            </p:cNvPr>
            <p:cNvSpPr/>
            <p:nvPr/>
          </p:nvSpPr>
          <p:spPr>
            <a:xfrm>
              <a:off x="8576715" y="3387615"/>
              <a:ext cx="1440000" cy="1440000"/>
            </a:xfrm>
            <a:prstGeom prst="roundRect">
              <a:avLst/>
            </a:prstGeom>
            <a:solidFill>
              <a:srgbClr val="00B0A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ounded Rectangle 42">
              <a:extLst>
                <a:ext uri="{FF2B5EF4-FFF2-40B4-BE49-F238E27FC236}">
                  <a16:creationId xmlns:a16="http://schemas.microsoft.com/office/drawing/2014/main" id="{268C17A7-E2EC-4040-97FD-B35F9C304D5A}"/>
                </a:ext>
              </a:extLst>
            </p:cNvPr>
            <p:cNvSpPr/>
            <p:nvPr/>
          </p:nvSpPr>
          <p:spPr>
            <a:xfrm>
              <a:off x="8576715" y="2893726"/>
              <a:ext cx="1440000" cy="1440000"/>
            </a:xfrm>
            <a:prstGeom prst="roundRect">
              <a:avLst/>
            </a:prstGeom>
            <a:solidFill>
              <a:srgbClr val="02677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ounded Rectangle 43">
              <a:extLst>
                <a:ext uri="{FF2B5EF4-FFF2-40B4-BE49-F238E27FC236}">
                  <a16:creationId xmlns:a16="http://schemas.microsoft.com/office/drawing/2014/main" id="{FB9EE9AD-74ED-4660-92A7-1214B25F4A80}"/>
                </a:ext>
              </a:extLst>
            </p:cNvPr>
            <p:cNvSpPr/>
            <p:nvPr/>
          </p:nvSpPr>
          <p:spPr>
            <a:xfrm>
              <a:off x="8576715" y="2399836"/>
              <a:ext cx="1440000" cy="1440000"/>
            </a:xfrm>
            <a:prstGeom prst="roundRect">
              <a:avLst/>
            </a:prstGeom>
            <a:solidFill>
              <a:srgbClr val="1D376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12">
              <a:extLst>
                <a:ext uri="{FF2B5EF4-FFF2-40B4-BE49-F238E27FC236}">
                  <a16:creationId xmlns:a16="http://schemas.microsoft.com/office/drawing/2014/main" id="{1491D791-F7C0-4D07-82AF-3DFB72C96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1975" y="3929050"/>
              <a:ext cx="720000" cy="720000"/>
            </a:xfrm>
            <a:prstGeom prst="ellipse">
              <a:avLst/>
            </a:prstGeom>
            <a:solidFill>
              <a:srgbClr val="00B0A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12">
              <a:extLst>
                <a:ext uri="{FF2B5EF4-FFF2-40B4-BE49-F238E27FC236}">
                  <a16:creationId xmlns:a16="http://schemas.microsoft.com/office/drawing/2014/main" id="{000FB554-068B-48AE-B528-9DD320330B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9229" y="3393650"/>
              <a:ext cx="720000" cy="720000"/>
            </a:xfrm>
            <a:prstGeom prst="ellipse">
              <a:avLst/>
            </a:prstGeom>
            <a:solidFill>
              <a:srgbClr val="02677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B93036E-7C7B-4ECE-85BC-17EB04D24600}"/>
                </a:ext>
              </a:extLst>
            </p:cNvPr>
            <p:cNvSpPr/>
            <p:nvPr/>
          </p:nvSpPr>
          <p:spPr>
            <a:xfrm>
              <a:off x="9873548" y="4700435"/>
              <a:ext cx="1936853" cy="256993"/>
            </a:xfrm>
            <a:prstGeom prst="rect">
              <a:avLst/>
            </a:prstGeom>
          </p:spPr>
          <p:txBody>
            <a:bodyPr wrap="square" lIns="182880" rIns="182880" bIns="73152">
              <a:spAutoFit/>
            </a:bodyPr>
            <a:lstStyle/>
            <a:p>
              <a:pPr algn="ctr">
                <a:lnSpc>
                  <a:spcPct val="89000"/>
                </a:lnSpc>
              </a:pPr>
              <a:r>
                <a:rPr lang="da-DK" sz="1000" b="1">
                  <a:latin typeface="Verdana" panose="020B0604030504040204" pitchFamily="34" charset="0"/>
                  <a:ea typeface="Verdana" panose="020B0604030504040204" pitchFamily="34" charset="0"/>
                </a:rPr>
                <a:t>Større virksomheder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3D919E7E-B8F3-44A4-ADE2-A35B9848CF03}"/>
                </a:ext>
              </a:extLst>
            </p:cNvPr>
            <p:cNvSpPr/>
            <p:nvPr/>
          </p:nvSpPr>
          <p:spPr>
            <a:xfrm>
              <a:off x="6769775" y="4150128"/>
              <a:ext cx="1936853" cy="256993"/>
            </a:xfrm>
            <a:prstGeom prst="rect">
              <a:avLst/>
            </a:prstGeom>
          </p:spPr>
          <p:txBody>
            <a:bodyPr wrap="square" lIns="182880" rIns="182880" bIns="73152">
              <a:spAutoFit/>
            </a:bodyPr>
            <a:lstStyle/>
            <a:p>
              <a:pPr algn="ctr">
                <a:lnSpc>
                  <a:spcPct val="89000"/>
                </a:lnSpc>
              </a:pPr>
              <a:r>
                <a:rPr lang="da-DK" sz="1000" b="1">
                  <a:latin typeface="Verdana" panose="020B0604030504040204" pitchFamily="34" charset="0"/>
                  <a:ea typeface="Verdana" panose="020B0604030504040204" pitchFamily="34" charset="0"/>
                </a:rPr>
                <a:t>SMV’er</a:t>
              </a:r>
            </a:p>
          </p:txBody>
        </p:sp>
      </p:grpSp>
      <p:pic>
        <p:nvPicPr>
          <p:cNvPr id="58" name="Graphic 57" descr="Man outline">
            <a:extLst>
              <a:ext uri="{FF2B5EF4-FFF2-40B4-BE49-F238E27FC236}">
                <a16:creationId xmlns:a16="http://schemas.microsoft.com/office/drawing/2014/main" id="{9FB79A85-4220-46AF-B813-5E8595E0E4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68202" y="3483650"/>
            <a:ext cx="540000" cy="540000"/>
          </a:xfrm>
          <a:prstGeom prst="rect">
            <a:avLst/>
          </a:prstGeom>
        </p:spPr>
      </p:pic>
      <p:pic>
        <p:nvPicPr>
          <p:cNvPr id="59" name="Graphic 58" descr="Group of men outline">
            <a:extLst>
              <a:ext uri="{FF2B5EF4-FFF2-40B4-BE49-F238E27FC236}">
                <a16:creationId xmlns:a16="http://schemas.microsoft.com/office/drawing/2014/main" id="{B8ECD318-6283-4C5B-9729-FE05710E71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74094" y="4023901"/>
            <a:ext cx="540000" cy="540000"/>
          </a:xfrm>
          <a:prstGeom prst="rect">
            <a:avLst/>
          </a:prstGeom>
        </p:spPr>
      </p:pic>
      <p:pic>
        <p:nvPicPr>
          <p:cNvPr id="60" name="Graphic 59" descr="Lightbulb outline">
            <a:extLst>
              <a:ext uri="{FF2B5EF4-FFF2-40B4-BE49-F238E27FC236}">
                <a16:creationId xmlns:a16="http://schemas.microsoft.com/office/drawing/2014/main" id="{CB27C59A-0069-4ACC-A2BA-D9580733132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2102143">
            <a:off x="8822920" y="2639044"/>
            <a:ext cx="914400" cy="914400"/>
          </a:xfrm>
          <a:prstGeom prst="rect">
            <a:avLst/>
          </a:prstGeom>
        </p:spPr>
      </p:pic>
      <p:grpSp>
        <p:nvGrpSpPr>
          <p:cNvPr id="76" name="Group 75">
            <a:extLst>
              <a:ext uri="{FF2B5EF4-FFF2-40B4-BE49-F238E27FC236}">
                <a16:creationId xmlns:a16="http://schemas.microsoft.com/office/drawing/2014/main" id="{B11E7283-7C1A-4FF0-97B3-DF20EED99740}"/>
              </a:ext>
            </a:extLst>
          </p:cNvPr>
          <p:cNvGrpSpPr/>
          <p:nvPr/>
        </p:nvGrpSpPr>
        <p:grpSpPr>
          <a:xfrm>
            <a:off x="1030275" y="2332901"/>
            <a:ext cx="5841715" cy="3811360"/>
            <a:chOff x="1030275" y="2332901"/>
            <a:chExt cx="5841715" cy="3811360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1CD23248-34C9-4F73-929E-8B4DD007B7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937748" y="4914506"/>
              <a:ext cx="2738466" cy="566070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E046B960-DE56-4DAA-9304-EB8BD6EAFB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937748" y="4159649"/>
              <a:ext cx="2738466" cy="566070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93DD57F9-1194-4E8A-9CBF-0F8123A970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937748" y="3419081"/>
              <a:ext cx="2738466" cy="566070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66D2F822-3AF8-41EC-92E8-35E169F83F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945502" y="2671387"/>
              <a:ext cx="2738466" cy="566070"/>
            </a:xfrm>
            <a:prstGeom prst="rect">
              <a:avLst/>
            </a:prstGeom>
          </p:spPr>
        </p:pic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3CDBBC4-2EAE-4E21-8F9C-EEB0AD5D301D}"/>
                </a:ext>
              </a:extLst>
            </p:cNvPr>
            <p:cNvSpPr/>
            <p:nvPr/>
          </p:nvSpPr>
          <p:spPr>
            <a:xfrm>
              <a:off x="3676854" y="2658916"/>
              <a:ext cx="590472" cy="590472"/>
            </a:xfrm>
            <a:prstGeom prst="ellipse">
              <a:avLst/>
            </a:prstGeom>
            <a:solidFill>
              <a:srgbClr val="1D3768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32DCD78D-C15E-4E3B-B8BD-C919C2AF5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332" y="5355400"/>
              <a:ext cx="962516" cy="788861"/>
            </a:xfrm>
            <a:custGeom>
              <a:avLst/>
              <a:gdLst>
                <a:gd name="T0" fmla="*/ 1775 w 1775"/>
                <a:gd name="T1" fmla="*/ 272 h 1788"/>
                <a:gd name="T2" fmla="*/ 1775 w 1775"/>
                <a:gd name="T3" fmla="*/ 272 h 1788"/>
                <a:gd name="T4" fmla="*/ 1775 w 1775"/>
                <a:gd name="T5" fmla="*/ 53 h 1788"/>
                <a:gd name="T6" fmla="*/ 1723 w 1775"/>
                <a:gd name="T7" fmla="*/ 0 h 1788"/>
                <a:gd name="T8" fmla="*/ 52 w 1775"/>
                <a:gd name="T9" fmla="*/ 0 h 1788"/>
                <a:gd name="T10" fmla="*/ 0 w 1775"/>
                <a:gd name="T11" fmla="*/ 53 h 1788"/>
                <a:gd name="T12" fmla="*/ 0 w 1775"/>
                <a:gd name="T13" fmla="*/ 342 h 1788"/>
                <a:gd name="T14" fmla="*/ 80 w 1775"/>
                <a:gd name="T15" fmla="*/ 466 h 1788"/>
                <a:gd name="T16" fmla="*/ 0 w 1775"/>
                <a:gd name="T17" fmla="*/ 584 h 1788"/>
                <a:gd name="T18" fmla="*/ 80 w 1775"/>
                <a:gd name="T19" fmla="*/ 711 h 1788"/>
                <a:gd name="T20" fmla="*/ 0 w 1775"/>
                <a:gd name="T21" fmla="*/ 822 h 1788"/>
                <a:gd name="T22" fmla="*/ 80 w 1775"/>
                <a:gd name="T23" fmla="*/ 964 h 1788"/>
                <a:gd name="T24" fmla="*/ 0 w 1775"/>
                <a:gd name="T25" fmla="*/ 1076 h 1788"/>
                <a:gd name="T26" fmla="*/ 80 w 1775"/>
                <a:gd name="T27" fmla="*/ 1209 h 1788"/>
                <a:gd name="T28" fmla="*/ 80 w 1775"/>
                <a:gd name="T29" fmla="*/ 1303 h 1788"/>
                <a:gd name="T30" fmla="*/ 581 w 1775"/>
                <a:gd name="T31" fmla="*/ 1745 h 1788"/>
                <a:gd name="T32" fmla="*/ 693 w 1775"/>
                <a:gd name="T33" fmla="*/ 1788 h 1788"/>
                <a:gd name="T34" fmla="*/ 1086 w 1775"/>
                <a:gd name="T35" fmla="*/ 1788 h 1788"/>
                <a:gd name="T36" fmla="*/ 1198 w 1775"/>
                <a:gd name="T37" fmla="*/ 1745 h 1788"/>
                <a:gd name="T38" fmla="*/ 1695 w 1775"/>
                <a:gd name="T39" fmla="*/ 1303 h 1788"/>
                <a:gd name="T40" fmla="*/ 1695 w 1775"/>
                <a:gd name="T41" fmla="*/ 1139 h 1788"/>
                <a:gd name="T42" fmla="*/ 1775 w 1775"/>
                <a:gd name="T43" fmla="*/ 1005 h 1788"/>
                <a:gd name="T44" fmla="*/ 1695 w 1775"/>
                <a:gd name="T45" fmla="*/ 894 h 1788"/>
                <a:gd name="T46" fmla="*/ 1775 w 1775"/>
                <a:gd name="T47" fmla="*/ 752 h 1788"/>
                <a:gd name="T48" fmla="*/ 1695 w 1775"/>
                <a:gd name="T49" fmla="*/ 641 h 1788"/>
                <a:gd name="T50" fmla="*/ 1775 w 1775"/>
                <a:gd name="T51" fmla="*/ 514 h 1788"/>
                <a:gd name="T52" fmla="*/ 1695 w 1775"/>
                <a:gd name="T53" fmla="*/ 396 h 1788"/>
                <a:gd name="T54" fmla="*/ 1775 w 1775"/>
                <a:gd name="T55" fmla="*/ 272 h 1788"/>
                <a:gd name="T56" fmla="*/ 1775 w 1775"/>
                <a:gd name="T57" fmla="*/ 272 h 1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5" h="1788">
                  <a:moveTo>
                    <a:pt x="1775" y="272"/>
                  </a:moveTo>
                  <a:lnTo>
                    <a:pt x="1775" y="272"/>
                  </a:lnTo>
                  <a:lnTo>
                    <a:pt x="1775" y="53"/>
                  </a:lnTo>
                  <a:cubicBezTo>
                    <a:pt x="1775" y="24"/>
                    <a:pt x="1752" y="0"/>
                    <a:pt x="1723" y="0"/>
                  </a:cubicBezTo>
                  <a:lnTo>
                    <a:pt x="52" y="0"/>
                  </a:lnTo>
                  <a:cubicBezTo>
                    <a:pt x="23" y="0"/>
                    <a:pt x="0" y="24"/>
                    <a:pt x="0" y="53"/>
                  </a:cubicBezTo>
                  <a:lnTo>
                    <a:pt x="0" y="342"/>
                  </a:lnTo>
                  <a:cubicBezTo>
                    <a:pt x="0" y="386"/>
                    <a:pt x="80" y="409"/>
                    <a:pt x="80" y="466"/>
                  </a:cubicBezTo>
                  <a:cubicBezTo>
                    <a:pt x="80" y="523"/>
                    <a:pt x="0" y="523"/>
                    <a:pt x="0" y="584"/>
                  </a:cubicBezTo>
                  <a:cubicBezTo>
                    <a:pt x="0" y="645"/>
                    <a:pt x="80" y="639"/>
                    <a:pt x="80" y="711"/>
                  </a:cubicBezTo>
                  <a:cubicBezTo>
                    <a:pt x="80" y="783"/>
                    <a:pt x="0" y="757"/>
                    <a:pt x="0" y="822"/>
                  </a:cubicBezTo>
                  <a:cubicBezTo>
                    <a:pt x="0" y="888"/>
                    <a:pt x="80" y="892"/>
                    <a:pt x="80" y="964"/>
                  </a:cubicBezTo>
                  <a:cubicBezTo>
                    <a:pt x="80" y="1036"/>
                    <a:pt x="0" y="1012"/>
                    <a:pt x="0" y="1076"/>
                  </a:cubicBezTo>
                  <a:cubicBezTo>
                    <a:pt x="0" y="1139"/>
                    <a:pt x="80" y="1141"/>
                    <a:pt x="80" y="1209"/>
                  </a:cubicBezTo>
                  <a:lnTo>
                    <a:pt x="80" y="1303"/>
                  </a:lnTo>
                  <a:lnTo>
                    <a:pt x="581" y="1745"/>
                  </a:lnTo>
                  <a:cubicBezTo>
                    <a:pt x="612" y="1773"/>
                    <a:pt x="651" y="1788"/>
                    <a:pt x="693" y="1788"/>
                  </a:cubicBezTo>
                  <a:lnTo>
                    <a:pt x="1086" y="1788"/>
                  </a:lnTo>
                  <a:cubicBezTo>
                    <a:pt x="1127" y="1788"/>
                    <a:pt x="1167" y="1773"/>
                    <a:pt x="1198" y="1745"/>
                  </a:cubicBezTo>
                  <a:lnTo>
                    <a:pt x="1695" y="1303"/>
                  </a:lnTo>
                  <a:lnTo>
                    <a:pt x="1695" y="1139"/>
                  </a:lnTo>
                  <a:cubicBezTo>
                    <a:pt x="1695" y="1071"/>
                    <a:pt x="1775" y="1069"/>
                    <a:pt x="1775" y="1005"/>
                  </a:cubicBezTo>
                  <a:cubicBezTo>
                    <a:pt x="1775" y="942"/>
                    <a:pt x="1695" y="966"/>
                    <a:pt x="1695" y="894"/>
                  </a:cubicBezTo>
                  <a:cubicBezTo>
                    <a:pt x="1695" y="822"/>
                    <a:pt x="1775" y="818"/>
                    <a:pt x="1775" y="752"/>
                  </a:cubicBezTo>
                  <a:cubicBezTo>
                    <a:pt x="1775" y="687"/>
                    <a:pt x="1695" y="713"/>
                    <a:pt x="1695" y="641"/>
                  </a:cubicBezTo>
                  <a:cubicBezTo>
                    <a:pt x="1695" y="569"/>
                    <a:pt x="1775" y="575"/>
                    <a:pt x="1775" y="514"/>
                  </a:cubicBezTo>
                  <a:cubicBezTo>
                    <a:pt x="1775" y="453"/>
                    <a:pt x="1695" y="453"/>
                    <a:pt x="1695" y="396"/>
                  </a:cubicBezTo>
                  <a:cubicBezTo>
                    <a:pt x="1695" y="339"/>
                    <a:pt x="1775" y="315"/>
                    <a:pt x="1775" y="272"/>
                  </a:cubicBezTo>
                  <a:lnTo>
                    <a:pt x="1775" y="272"/>
                  </a:lnTo>
                  <a:close/>
                </a:path>
              </a:pathLst>
            </a:custGeom>
            <a:solidFill>
              <a:srgbClr val="B8B5B6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182363D9-D5E8-4B9A-A14F-D6D8B846B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207" y="2332901"/>
              <a:ext cx="2179665" cy="714247"/>
            </a:xfrm>
            <a:custGeom>
              <a:avLst/>
              <a:gdLst>
                <a:gd name="T0" fmla="*/ 4021 w 4021"/>
                <a:gd name="T1" fmla="*/ 1317 h 1317"/>
                <a:gd name="T2" fmla="*/ 4021 w 4021"/>
                <a:gd name="T3" fmla="*/ 1317 h 1317"/>
                <a:gd name="T4" fmla="*/ 2010 w 4021"/>
                <a:gd name="T5" fmla="*/ 0 h 1317"/>
                <a:gd name="T6" fmla="*/ 0 w 4021"/>
                <a:gd name="T7" fmla="*/ 1317 h 1317"/>
                <a:gd name="T8" fmla="*/ 4021 w 4021"/>
                <a:gd name="T9" fmla="*/ 1317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21" h="1317">
                  <a:moveTo>
                    <a:pt x="4021" y="1317"/>
                  </a:moveTo>
                  <a:lnTo>
                    <a:pt x="4021" y="1317"/>
                  </a:lnTo>
                  <a:cubicBezTo>
                    <a:pt x="3733" y="492"/>
                    <a:pt x="2960" y="0"/>
                    <a:pt x="2010" y="0"/>
                  </a:cubicBezTo>
                  <a:cubicBezTo>
                    <a:pt x="1060" y="0"/>
                    <a:pt x="287" y="492"/>
                    <a:pt x="0" y="1317"/>
                  </a:cubicBezTo>
                  <a:lnTo>
                    <a:pt x="4021" y="1317"/>
                  </a:lnTo>
                  <a:close/>
                </a:path>
              </a:pathLst>
            </a:custGeom>
            <a:solidFill>
              <a:srgbClr val="1D376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D3768"/>
                </a:solidFill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DA818D87-A91D-4302-A9A0-E38F806C6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275" y="3100619"/>
              <a:ext cx="2309528" cy="687510"/>
            </a:xfrm>
            <a:custGeom>
              <a:avLst/>
              <a:gdLst>
                <a:gd name="T0" fmla="*/ 0 w 4262"/>
                <a:gd name="T1" fmla="*/ 643 h 1268"/>
                <a:gd name="T2" fmla="*/ 0 w 4262"/>
                <a:gd name="T3" fmla="*/ 643 h 1268"/>
                <a:gd name="T4" fmla="*/ 85 w 4262"/>
                <a:gd name="T5" fmla="*/ 1268 h 1268"/>
                <a:gd name="T6" fmla="*/ 4178 w 4262"/>
                <a:gd name="T7" fmla="*/ 1268 h 1268"/>
                <a:gd name="T8" fmla="*/ 4262 w 4262"/>
                <a:gd name="T9" fmla="*/ 643 h 1268"/>
                <a:gd name="T10" fmla="*/ 4174 w 4262"/>
                <a:gd name="T11" fmla="*/ 0 h 1268"/>
                <a:gd name="T12" fmla="*/ 89 w 4262"/>
                <a:gd name="T13" fmla="*/ 0 h 1268"/>
                <a:gd name="T14" fmla="*/ 0 w 4262"/>
                <a:gd name="T15" fmla="*/ 643 h 1268"/>
                <a:gd name="T16" fmla="*/ 0 w 4262"/>
                <a:gd name="T17" fmla="*/ 643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62" h="1268">
                  <a:moveTo>
                    <a:pt x="0" y="643"/>
                  </a:moveTo>
                  <a:lnTo>
                    <a:pt x="0" y="643"/>
                  </a:lnTo>
                  <a:cubicBezTo>
                    <a:pt x="0" y="876"/>
                    <a:pt x="32" y="1082"/>
                    <a:pt x="85" y="1268"/>
                  </a:cubicBezTo>
                  <a:lnTo>
                    <a:pt x="4178" y="1268"/>
                  </a:lnTo>
                  <a:cubicBezTo>
                    <a:pt x="4230" y="1082"/>
                    <a:pt x="4262" y="876"/>
                    <a:pt x="4262" y="643"/>
                  </a:cubicBezTo>
                  <a:cubicBezTo>
                    <a:pt x="4262" y="412"/>
                    <a:pt x="4231" y="198"/>
                    <a:pt x="4174" y="0"/>
                  </a:cubicBezTo>
                  <a:lnTo>
                    <a:pt x="89" y="0"/>
                  </a:lnTo>
                  <a:cubicBezTo>
                    <a:pt x="31" y="198"/>
                    <a:pt x="0" y="412"/>
                    <a:pt x="0" y="643"/>
                  </a:cubicBezTo>
                  <a:lnTo>
                    <a:pt x="0" y="643"/>
                  </a:lnTo>
                  <a:close/>
                </a:path>
              </a:pathLst>
            </a:custGeom>
            <a:solidFill>
              <a:srgbClr val="026778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1566BA18-6B78-48C4-9E2F-5A1BA3164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9519" y="4583861"/>
              <a:ext cx="1429769" cy="714247"/>
            </a:xfrm>
            <a:custGeom>
              <a:avLst/>
              <a:gdLst>
                <a:gd name="T0" fmla="*/ 0 w 2640"/>
                <a:gd name="T1" fmla="*/ 0 h 1317"/>
                <a:gd name="T2" fmla="*/ 0 w 2640"/>
                <a:gd name="T3" fmla="*/ 0 h 1317"/>
                <a:gd name="T4" fmla="*/ 127 w 2640"/>
                <a:gd name="T5" fmla="*/ 630 h 1317"/>
                <a:gd name="T6" fmla="*/ 610 w 2640"/>
                <a:gd name="T7" fmla="*/ 1317 h 1317"/>
                <a:gd name="T8" fmla="*/ 2030 w 2640"/>
                <a:gd name="T9" fmla="*/ 1317 h 1317"/>
                <a:gd name="T10" fmla="*/ 2513 w 2640"/>
                <a:gd name="T11" fmla="*/ 630 h 1317"/>
                <a:gd name="T12" fmla="*/ 2640 w 2640"/>
                <a:gd name="T13" fmla="*/ 0 h 1317"/>
                <a:gd name="T14" fmla="*/ 0 w 2640"/>
                <a:gd name="T15" fmla="*/ 0 h 1317"/>
                <a:gd name="T16" fmla="*/ 0 w 2640"/>
                <a:gd name="T17" fmla="*/ 0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0" h="1317">
                  <a:moveTo>
                    <a:pt x="0" y="0"/>
                  </a:moveTo>
                  <a:lnTo>
                    <a:pt x="0" y="0"/>
                  </a:lnTo>
                  <a:cubicBezTo>
                    <a:pt x="77" y="190"/>
                    <a:pt x="127" y="394"/>
                    <a:pt x="127" y="630"/>
                  </a:cubicBezTo>
                  <a:cubicBezTo>
                    <a:pt x="127" y="857"/>
                    <a:pt x="340" y="1317"/>
                    <a:pt x="610" y="1317"/>
                  </a:cubicBezTo>
                  <a:lnTo>
                    <a:pt x="2030" y="1317"/>
                  </a:lnTo>
                  <a:cubicBezTo>
                    <a:pt x="2300" y="1317"/>
                    <a:pt x="2513" y="857"/>
                    <a:pt x="2513" y="630"/>
                  </a:cubicBezTo>
                  <a:cubicBezTo>
                    <a:pt x="2513" y="394"/>
                    <a:pt x="2563" y="190"/>
                    <a:pt x="264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4545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A1ED0312-38B5-47E2-A318-124E64915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661" y="3842876"/>
              <a:ext cx="2184757" cy="687510"/>
            </a:xfrm>
            <a:custGeom>
              <a:avLst/>
              <a:gdLst>
                <a:gd name="T0" fmla="*/ 3379 w 4032"/>
                <a:gd name="T1" fmla="*/ 1267 h 1267"/>
                <a:gd name="T2" fmla="*/ 3379 w 4032"/>
                <a:gd name="T3" fmla="*/ 1267 h 1267"/>
                <a:gd name="T4" fmla="*/ 4032 w 4032"/>
                <a:gd name="T5" fmla="*/ 0 h 1267"/>
                <a:gd name="T6" fmla="*/ 0 w 4032"/>
                <a:gd name="T7" fmla="*/ 0 h 1267"/>
                <a:gd name="T8" fmla="*/ 653 w 4032"/>
                <a:gd name="T9" fmla="*/ 1267 h 1267"/>
                <a:gd name="T10" fmla="*/ 3379 w 4032"/>
                <a:gd name="T11" fmla="*/ 1267 h 1267"/>
                <a:gd name="T12" fmla="*/ 3379 w 4032"/>
                <a:gd name="T13" fmla="*/ 1267 h 1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32" h="1267">
                  <a:moveTo>
                    <a:pt x="3379" y="1267"/>
                  </a:moveTo>
                  <a:lnTo>
                    <a:pt x="3379" y="1267"/>
                  </a:lnTo>
                  <a:cubicBezTo>
                    <a:pt x="3568" y="854"/>
                    <a:pt x="3869" y="495"/>
                    <a:pt x="4032" y="0"/>
                  </a:cubicBezTo>
                  <a:lnTo>
                    <a:pt x="0" y="0"/>
                  </a:lnTo>
                  <a:cubicBezTo>
                    <a:pt x="163" y="495"/>
                    <a:pt x="464" y="854"/>
                    <a:pt x="653" y="1267"/>
                  </a:cubicBezTo>
                  <a:lnTo>
                    <a:pt x="3379" y="1267"/>
                  </a:lnTo>
                  <a:lnTo>
                    <a:pt x="3379" y="1267"/>
                  </a:lnTo>
                  <a:close/>
                </a:path>
              </a:pathLst>
            </a:custGeom>
            <a:solidFill>
              <a:srgbClr val="00B0A8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58F7E12-8788-47F8-94EB-C87444679076}"/>
                </a:ext>
              </a:extLst>
            </p:cNvPr>
            <p:cNvCxnSpPr/>
            <p:nvPr/>
          </p:nvCxnSpPr>
          <p:spPr>
            <a:xfrm>
              <a:off x="2814018" y="3029500"/>
              <a:ext cx="921708" cy="0"/>
            </a:xfrm>
            <a:prstGeom prst="line">
              <a:avLst/>
            </a:prstGeom>
            <a:ln w="28575">
              <a:solidFill>
                <a:srgbClr val="1D376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232B2B9-E3DC-40F4-9742-0912FB78D765}"/>
                </a:ext>
              </a:extLst>
            </p:cNvPr>
            <p:cNvSpPr/>
            <p:nvPr/>
          </p:nvSpPr>
          <p:spPr>
            <a:xfrm>
              <a:off x="4267326" y="4322999"/>
              <a:ext cx="1969391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da-DK" sz="1400" b="1"/>
                <a:t>Lovgivning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2F9AA07-FB83-466E-AE0A-FC7EE841E845}"/>
                </a:ext>
              </a:extLst>
            </p:cNvPr>
            <p:cNvSpPr/>
            <p:nvPr/>
          </p:nvSpPr>
          <p:spPr>
            <a:xfrm>
              <a:off x="4284141" y="3534925"/>
              <a:ext cx="1969391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da-DK" sz="1400" b="1"/>
                <a:t>Finansiering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43A0B08-6E64-41C3-B934-3571E299FC98}"/>
                </a:ext>
              </a:extLst>
            </p:cNvPr>
            <p:cNvSpPr/>
            <p:nvPr/>
          </p:nvSpPr>
          <p:spPr>
            <a:xfrm>
              <a:off x="4290280" y="2791860"/>
              <a:ext cx="2581710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da-DK" sz="1400" b="1"/>
                <a:t>Kapacitet og adgang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4148B3D-D0BE-4E83-A778-BEC150F9F64B}"/>
                </a:ext>
              </a:extLst>
            </p:cNvPr>
            <p:cNvSpPr/>
            <p:nvPr/>
          </p:nvSpPr>
          <p:spPr>
            <a:xfrm>
              <a:off x="4260000" y="5054425"/>
              <a:ext cx="2581710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da-DK" sz="1400" b="1"/>
                <a:t>Teknologisk udvikling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C4FFA0E1-DDC6-4B33-9CBE-24B6CCFCEDE7}"/>
                </a:ext>
              </a:extLst>
            </p:cNvPr>
            <p:cNvSpPr/>
            <p:nvPr/>
          </p:nvSpPr>
          <p:spPr>
            <a:xfrm>
              <a:off x="3676854" y="4148770"/>
              <a:ext cx="590472" cy="590472"/>
            </a:xfrm>
            <a:prstGeom prst="ellipse">
              <a:avLst/>
            </a:prstGeom>
            <a:solidFill>
              <a:srgbClr val="00B0A8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48C45C3-A8FA-4CF9-B024-9216291A837C}"/>
                </a:ext>
              </a:extLst>
            </p:cNvPr>
            <p:cNvSpPr/>
            <p:nvPr/>
          </p:nvSpPr>
          <p:spPr>
            <a:xfrm>
              <a:off x="3676854" y="4904827"/>
              <a:ext cx="590472" cy="590472"/>
            </a:xfrm>
            <a:prstGeom prst="ellipse">
              <a:avLst/>
            </a:prstGeom>
            <a:solidFill>
              <a:srgbClr val="454545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00B621D-3A6A-4FDF-BCB7-15346BE3473C}"/>
                </a:ext>
              </a:extLst>
            </p:cNvPr>
            <p:cNvSpPr/>
            <p:nvPr/>
          </p:nvSpPr>
          <p:spPr>
            <a:xfrm>
              <a:off x="3676854" y="3408218"/>
              <a:ext cx="590472" cy="590472"/>
            </a:xfrm>
            <a:prstGeom prst="ellipse">
              <a:avLst/>
            </a:prstGeom>
            <a:solidFill>
              <a:srgbClr val="026778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F354021A-FA62-48AC-B14C-B657AFD295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852819" y="2746259"/>
              <a:ext cx="246873" cy="415786"/>
            </a:xfrm>
            <a:prstGeom prst="rect">
              <a:avLst/>
            </a:prstGeom>
          </p:spPr>
        </p:pic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444E3C9B-9FE3-4AF2-BB4D-8AA4B2DA91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839846" y="3551054"/>
              <a:ext cx="247650" cy="304800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FB28745D-9791-4362-8321-7F1376F667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839846" y="5043611"/>
              <a:ext cx="257175" cy="323850"/>
            </a:xfrm>
            <a:prstGeom prst="rect">
              <a:avLst/>
            </a:prstGeom>
          </p:spPr>
        </p:pic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D5E82010-EFF0-41E9-9A74-C7D038B386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852547" y="4282730"/>
              <a:ext cx="304800" cy="285750"/>
            </a:xfrm>
            <a:prstGeom prst="rect">
              <a:avLst/>
            </a:prstGeom>
          </p:spPr>
        </p:pic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090653AA-6C29-436C-A46E-71AE9256FFA5}"/>
                </a:ext>
              </a:extLst>
            </p:cNvPr>
            <p:cNvCxnSpPr/>
            <p:nvPr/>
          </p:nvCxnSpPr>
          <p:spPr>
            <a:xfrm>
              <a:off x="2814018" y="3772450"/>
              <a:ext cx="921708" cy="0"/>
            </a:xfrm>
            <a:prstGeom prst="line">
              <a:avLst/>
            </a:prstGeom>
            <a:ln w="28575">
              <a:solidFill>
                <a:srgbClr val="0267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D62A384-88C6-4BDE-B630-11A365F9F3A1}"/>
                </a:ext>
              </a:extLst>
            </p:cNvPr>
            <p:cNvCxnSpPr/>
            <p:nvPr/>
          </p:nvCxnSpPr>
          <p:spPr>
            <a:xfrm>
              <a:off x="2814018" y="4513813"/>
              <a:ext cx="921708" cy="0"/>
            </a:xfrm>
            <a:prstGeom prst="line">
              <a:avLst/>
            </a:prstGeom>
            <a:ln w="28575">
              <a:solidFill>
                <a:srgbClr val="00B0A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54BCB0F4-14B3-435C-977A-1B3BDCDDEDC3}"/>
                </a:ext>
              </a:extLst>
            </p:cNvPr>
            <p:cNvCxnSpPr>
              <a:cxnSpLocks/>
            </p:cNvCxnSpPr>
            <p:nvPr/>
          </p:nvCxnSpPr>
          <p:spPr>
            <a:xfrm>
              <a:off x="2270638" y="5283752"/>
              <a:ext cx="1519237" cy="0"/>
            </a:xfrm>
            <a:prstGeom prst="line">
              <a:avLst/>
            </a:prstGeom>
            <a:ln w="28575">
              <a:solidFill>
                <a:srgbClr val="45454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2E34140-FD5B-4DF0-981F-BBF990FF0F91}"/>
              </a:ext>
            </a:extLst>
          </p:cNvPr>
          <p:cNvCxnSpPr>
            <a:cxnSpLocks/>
          </p:cNvCxnSpPr>
          <p:nvPr/>
        </p:nvCxnSpPr>
        <p:spPr>
          <a:xfrm flipH="1">
            <a:off x="7986255" y="3775599"/>
            <a:ext cx="590460" cy="0"/>
          </a:xfrm>
          <a:prstGeom prst="line">
            <a:avLst/>
          </a:prstGeom>
          <a:ln w="28575" cmpd="sng">
            <a:solidFill>
              <a:srgbClr val="02677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6D599556-4F93-4AC3-9884-8DA8123B0184}"/>
              </a:ext>
            </a:extLst>
          </p:cNvPr>
          <p:cNvCxnSpPr>
            <a:cxnSpLocks/>
          </p:cNvCxnSpPr>
          <p:nvPr/>
        </p:nvCxnSpPr>
        <p:spPr>
          <a:xfrm flipH="1">
            <a:off x="10016715" y="4310994"/>
            <a:ext cx="573494" cy="0"/>
          </a:xfrm>
          <a:prstGeom prst="line">
            <a:avLst/>
          </a:prstGeom>
          <a:ln w="28575" cmpd="sng">
            <a:solidFill>
              <a:srgbClr val="00B0A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67502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B7E7B85B-CF63-4473-B930-1A73495DE9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0" imgH="393" progId="TCLayout.ActiveDocument.1">
                  <p:embed/>
                </p:oleObj>
              </mc:Choice>
              <mc:Fallback>
                <p:oleObj name="think-cell Slide" r:id="rId4" imgW="400" imgH="393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B7E7B85B-CF63-4473-B930-1A73495DE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0A07BD-E120-437B-BE84-4B44385DC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B854C339-1E7E-42C9-A1E2-868ABD64E2A5}"/>
              </a:ext>
            </a:extLst>
          </p:cNvPr>
          <p:cNvSpPr txBox="1">
            <a:spLocks/>
          </p:cNvSpPr>
          <p:nvPr/>
        </p:nvSpPr>
        <p:spPr>
          <a:xfrm>
            <a:off x="358775" y="39103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Det er udfordrende at få testet teknologier og produkter på offentligt tilgængelige TDU-faciliteter i Danmark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02E68748-1F63-4B3B-A16E-C8E171A5CF79}"/>
              </a:ext>
            </a:extLst>
          </p:cNvPr>
          <p:cNvGrpSpPr/>
          <p:nvPr/>
        </p:nvGrpSpPr>
        <p:grpSpPr>
          <a:xfrm>
            <a:off x="6780802" y="2399836"/>
            <a:ext cx="5052398" cy="2539775"/>
            <a:chOff x="6780802" y="2399836"/>
            <a:chExt cx="5052398" cy="2539775"/>
          </a:xfrm>
        </p:grpSpPr>
        <p:sp>
          <p:nvSpPr>
            <p:cNvPr id="31" name="Rounded Rectangle 41">
              <a:extLst>
                <a:ext uri="{FF2B5EF4-FFF2-40B4-BE49-F238E27FC236}">
                  <a16:creationId xmlns:a16="http://schemas.microsoft.com/office/drawing/2014/main" id="{88832879-9DB1-46FF-BBB1-E87CA0C45988}"/>
                </a:ext>
              </a:extLst>
            </p:cNvPr>
            <p:cNvSpPr/>
            <p:nvPr/>
          </p:nvSpPr>
          <p:spPr>
            <a:xfrm>
              <a:off x="8576715" y="3387615"/>
              <a:ext cx="1440000" cy="1440000"/>
            </a:xfrm>
            <a:prstGeom prst="roundRect">
              <a:avLst/>
            </a:prstGeom>
            <a:solidFill>
              <a:srgbClr val="00B0A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ounded Rectangle 42">
              <a:extLst>
                <a:ext uri="{FF2B5EF4-FFF2-40B4-BE49-F238E27FC236}">
                  <a16:creationId xmlns:a16="http://schemas.microsoft.com/office/drawing/2014/main" id="{DB2752D9-0FED-42EA-A216-9A16849D7728}"/>
                </a:ext>
              </a:extLst>
            </p:cNvPr>
            <p:cNvSpPr/>
            <p:nvPr/>
          </p:nvSpPr>
          <p:spPr>
            <a:xfrm>
              <a:off x="8576715" y="2893726"/>
              <a:ext cx="1440000" cy="1440000"/>
            </a:xfrm>
            <a:prstGeom prst="roundRect">
              <a:avLst/>
            </a:prstGeom>
            <a:solidFill>
              <a:srgbClr val="02677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ounded Rectangle 43">
              <a:extLst>
                <a:ext uri="{FF2B5EF4-FFF2-40B4-BE49-F238E27FC236}">
                  <a16:creationId xmlns:a16="http://schemas.microsoft.com/office/drawing/2014/main" id="{75A5EE64-7BD9-4A4B-BA1E-8E1C2516BF96}"/>
                </a:ext>
              </a:extLst>
            </p:cNvPr>
            <p:cNvSpPr/>
            <p:nvPr/>
          </p:nvSpPr>
          <p:spPr>
            <a:xfrm>
              <a:off x="8576715" y="2399836"/>
              <a:ext cx="1440000" cy="1440000"/>
            </a:xfrm>
            <a:prstGeom prst="roundRect">
              <a:avLst/>
            </a:prstGeom>
            <a:solidFill>
              <a:srgbClr val="1D376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AF924702-996B-482C-9A69-D7118093F06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6255" y="3775599"/>
              <a:ext cx="590460" cy="0"/>
            </a:xfrm>
            <a:prstGeom prst="line">
              <a:avLst/>
            </a:prstGeom>
            <a:ln w="28575" cmpd="sng">
              <a:solidFill>
                <a:srgbClr val="02677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A6B82D7-CBF0-4E5A-97F8-22FB7C0CC5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016715" y="4310994"/>
              <a:ext cx="573494" cy="0"/>
            </a:xfrm>
            <a:prstGeom prst="line">
              <a:avLst/>
            </a:prstGeom>
            <a:ln w="28575" cmpd="sng">
              <a:solidFill>
                <a:srgbClr val="00B0A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12">
              <a:extLst>
                <a:ext uri="{FF2B5EF4-FFF2-40B4-BE49-F238E27FC236}">
                  <a16:creationId xmlns:a16="http://schemas.microsoft.com/office/drawing/2014/main" id="{C8FD246D-D7AF-4A07-BF87-25B217ABC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1975" y="3929050"/>
              <a:ext cx="720000" cy="720000"/>
            </a:xfrm>
            <a:prstGeom prst="ellipse">
              <a:avLst/>
            </a:prstGeom>
            <a:solidFill>
              <a:srgbClr val="00B0A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12">
              <a:extLst>
                <a:ext uri="{FF2B5EF4-FFF2-40B4-BE49-F238E27FC236}">
                  <a16:creationId xmlns:a16="http://schemas.microsoft.com/office/drawing/2014/main" id="{B2485F6F-CFD5-4DBE-AB37-CE94CF4292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9229" y="3393650"/>
              <a:ext cx="720000" cy="720000"/>
            </a:xfrm>
            <a:prstGeom prst="ellipse">
              <a:avLst/>
            </a:prstGeom>
            <a:solidFill>
              <a:srgbClr val="02677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DDBBB92-40EA-45FE-ABF6-5FD1DD00214B}"/>
                </a:ext>
              </a:extLst>
            </p:cNvPr>
            <p:cNvSpPr/>
            <p:nvPr/>
          </p:nvSpPr>
          <p:spPr>
            <a:xfrm>
              <a:off x="9896347" y="4682618"/>
              <a:ext cx="1936853" cy="256993"/>
            </a:xfrm>
            <a:prstGeom prst="rect">
              <a:avLst/>
            </a:prstGeom>
          </p:spPr>
          <p:txBody>
            <a:bodyPr wrap="square" lIns="182880" rIns="182880" bIns="73152">
              <a:spAutoFit/>
            </a:bodyPr>
            <a:lstStyle/>
            <a:p>
              <a:pPr algn="ctr">
                <a:lnSpc>
                  <a:spcPct val="89000"/>
                </a:lnSpc>
              </a:pPr>
              <a:r>
                <a:rPr lang="da-DK" sz="1000" b="1">
                  <a:latin typeface="Verdana" panose="020B0604030504040204" pitchFamily="34" charset="0"/>
                  <a:ea typeface="Verdana" panose="020B0604030504040204" pitchFamily="34" charset="0"/>
                </a:rPr>
                <a:t>Konsekvenser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926EDA7-7A8C-4A31-9E76-9D436A02ADB5}"/>
                </a:ext>
              </a:extLst>
            </p:cNvPr>
            <p:cNvSpPr/>
            <p:nvPr/>
          </p:nvSpPr>
          <p:spPr>
            <a:xfrm>
              <a:off x="6780802" y="4152806"/>
              <a:ext cx="1936853" cy="256993"/>
            </a:xfrm>
            <a:prstGeom prst="rect">
              <a:avLst/>
            </a:prstGeom>
          </p:spPr>
          <p:txBody>
            <a:bodyPr wrap="square" lIns="182880" rIns="182880" bIns="73152">
              <a:spAutoFit/>
            </a:bodyPr>
            <a:lstStyle/>
            <a:p>
              <a:pPr algn="ctr">
                <a:lnSpc>
                  <a:spcPct val="89000"/>
                </a:lnSpc>
              </a:pPr>
              <a:r>
                <a:rPr lang="da-DK" sz="1000" b="1">
                  <a:latin typeface="Verdana" panose="020B0604030504040204" pitchFamily="34" charset="0"/>
                  <a:ea typeface="Verdana" panose="020B0604030504040204" pitchFamily="34" charset="0"/>
                </a:rPr>
                <a:t>Erfaringer</a:t>
              </a:r>
            </a:p>
          </p:txBody>
        </p:sp>
        <p:pic>
          <p:nvPicPr>
            <p:cNvPr id="43" name="Graphic 42" descr="Meeting outline">
              <a:extLst>
                <a:ext uri="{FF2B5EF4-FFF2-40B4-BE49-F238E27FC236}">
                  <a16:creationId xmlns:a16="http://schemas.microsoft.com/office/drawing/2014/main" id="{E6986522-D7CD-4B30-9D12-8039B5D0E36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468202" y="3469610"/>
              <a:ext cx="540000" cy="540000"/>
            </a:xfrm>
            <a:prstGeom prst="rect">
              <a:avLst/>
            </a:prstGeom>
          </p:spPr>
        </p:pic>
        <p:pic>
          <p:nvPicPr>
            <p:cNvPr id="46" name="Graphic 45" descr="Downward trend graph outline">
              <a:extLst>
                <a:ext uri="{FF2B5EF4-FFF2-40B4-BE49-F238E27FC236}">
                  <a16:creationId xmlns:a16="http://schemas.microsoft.com/office/drawing/2014/main" id="{A014B1B0-5969-4313-8810-DA93AA5054E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571975" y="4020744"/>
              <a:ext cx="540000" cy="540000"/>
            </a:xfrm>
            <a:prstGeom prst="rect">
              <a:avLst/>
            </a:prstGeom>
          </p:spPr>
        </p:pic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71338867-4D8B-4792-90C2-97B0C970D9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2220939">
              <a:off x="9053669" y="2746923"/>
              <a:ext cx="466597" cy="785847"/>
            </a:xfrm>
            <a:prstGeom prst="rect">
              <a:avLst/>
            </a:prstGeom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30FE0FD-95D8-4259-A655-D4B11435E030}"/>
              </a:ext>
            </a:extLst>
          </p:cNvPr>
          <p:cNvGrpSpPr/>
          <p:nvPr/>
        </p:nvGrpSpPr>
        <p:grpSpPr>
          <a:xfrm>
            <a:off x="1059303" y="2332901"/>
            <a:ext cx="5832953" cy="3811360"/>
            <a:chOff x="1030275" y="2332901"/>
            <a:chExt cx="5832953" cy="3811360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32DCD78D-C15E-4E3B-B8BD-C919C2AF5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332" y="5355400"/>
              <a:ext cx="962516" cy="788861"/>
            </a:xfrm>
            <a:custGeom>
              <a:avLst/>
              <a:gdLst>
                <a:gd name="T0" fmla="*/ 1775 w 1775"/>
                <a:gd name="T1" fmla="*/ 272 h 1788"/>
                <a:gd name="T2" fmla="*/ 1775 w 1775"/>
                <a:gd name="T3" fmla="*/ 272 h 1788"/>
                <a:gd name="T4" fmla="*/ 1775 w 1775"/>
                <a:gd name="T5" fmla="*/ 53 h 1788"/>
                <a:gd name="T6" fmla="*/ 1723 w 1775"/>
                <a:gd name="T7" fmla="*/ 0 h 1788"/>
                <a:gd name="T8" fmla="*/ 52 w 1775"/>
                <a:gd name="T9" fmla="*/ 0 h 1788"/>
                <a:gd name="T10" fmla="*/ 0 w 1775"/>
                <a:gd name="T11" fmla="*/ 53 h 1788"/>
                <a:gd name="T12" fmla="*/ 0 w 1775"/>
                <a:gd name="T13" fmla="*/ 342 h 1788"/>
                <a:gd name="T14" fmla="*/ 80 w 1775"/>
                <a:gd name="T15" fmla="*/ 466 h 1788"/>
                <a:gd name="T16" fmla="*/ 0 w 1775"/>
                <a:gd name="T17" fmla="*/ 584 h 1788"/>
                <a:gd name="T18" fmla="*/ 80 w 1775"/>
                <a:gd name="T19" fmla="*/ 711 h 1788"/>
                <a:gd name="T20" fmla="*/ 0 w 1775"/>
                <a:gd name="T21" fmla="*/ 822 h 1788"/>
                <a:gd name="T22" fmla="*/ 80 w 1775"/>
                <a:gd name="T23" fmla="*/ 964 h 1788"/>
                <a:gd name="T24" fmla="*/ 0 w 1775"/>
                <a:gd name="T25" fmla="*/ 1076 h 1788"/>
                <a:gd name="T26" fmla="*/ 80 w 1775"/>
                <a:gd name="T27" fmla="*/ 1209 h 1788"/>
                <a:gd name="T28" fmla="*/ 80 w 1775"/>
                <a:gd name="T29" fmla="*/ 1303 h 1788"/>
                <a:gd name="T30" fmla="*/ 581 w 1775"/>
                <a:gd name="T31" fmla="*/ 1745 h 1788"/>
                <a:gd name="T32" fmla="*/ 693 w 1775"/>
                <a:gd name="T33" fmla="*/ 1788 h 1788"/>
                <a:gd name="T34" fmla="*/ 1086 w 1775"/>
                <a:gd name="T35" fmla="*/ 1788 h 1788"/>
                <a:gd name="T36" fmla="*/ 1198 w 1775"/>
                <a:gd name="T37" fmla="*/ 1745 h 1788"/>
                <a:gd name="T38" fmla="*/ 1695 w 1775"/>
                <a:gd name="T39" fmla="*/ 1303 h 1788"/>
                <a:gd name="T40" fmla="*/ 1695 w 1775"/>
                <a:gd name="T41" fmla="*/ 1139 h 1788"/>
                <a:gd name="T42" fmla="*/ 1775 w 1775"/>
                <a:gd name="T43" fmla="*/ 1005 h 1788"/>
                <a:gd name="T44" fmla="*/ 1695 w 1775"/>
                <a:gd name="T45" fmla="*/ 894 h 1788"/>
                <a:gd name="T46" fmla="*/ 1775 w 1775"/>
                <a:gd name="T47" fmla="*/ 752 h 1788"/>
                <a:gd name="T48" fmla="*/ 1695 w 1775"/>
                <a:gd name="T49" fmla="*/ 641 h 1788"/>
                <a:gd name="T50" fmla="*/ 1775 w 1775"/>
                <a:gd name="T51" fmla="*/ 514 h 1788"/>
                <a:gd name="T52" fmla="*/ 1695 w 1775"/>
                <a:gd name="T53" fmla="*/ 396 h 1788"/>
                <a:gd name="T54" fmla="*/ 1775 w 1775"/>
                <a:gd name="T55" fmla="*/ 272 h 1788"/>
                <a:gd name="T56" fmla="*/ 1775 w 1775"/>
                <a:gd name="T57" fmla="*/ 272 h 1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5" h="1788">
                  <a:moveTo>
                    <a:pt x="1775" y="272"/>
                  </a:moveTo>
                  <a:lnTo>
                    <a:pt x="1775" y="272"/>
                  </a:lnTo>
                  <a:lnTo>
                    <a:pt x="1775" y="53"/>
                  </a:lnTo>
                  <a:cubicBezTo>
                    <a:pt x="1775" y="24"/>
                    <a:pt x="1752" y="0"/>
                    <a:pt x="1723" y="0"/>
                  </a:cubicBezTo>
                  <a:lnTo>
                    <a:pt x="52" y="0"/>
                  </a:lnTo>
                  <a:cubicBezTo>
                    <a:pt x="23" y="0"/>
                    <a:pt x="0" y="24"/>
                    <a:pt x="0" y="53"/>
                  </a:cubicBezTo>
                  <a:lnTo>
                    <a:pt x="0" y="342"/>
                  </a:lnTo>
                  <a:cubicBezTo>
                    <a:pt x="0" y="386"/>
                    <a:pt x="80" y="409"/>
                    <a:pt x="80" y="466"/>
                  </a:cubicBezTo>
                  <a:cubicBezTo>
                    <a:pt x="80" y="523"/>
                    <a:pt x="0" y="523"/>
                    <a:pt x="0" y="584"/>
                  </a:cubicBezTo>
                  <a:cubicBezTo>
                    <a:pt x="0" y="645"/>
                    <a:pt x="80" y="639"/>
                    <a:pt x="80" y="711"/>
                  </a:cubicBezTo>
                  <a:cubicBezTo>
                    <a:pt x="80" y="783"/>
                    <a:pt x="0" y="757"/>
                    <a:pt x="0" y="822"/>
                  </a:cubicBezTo>
                  <a:cubicBezTo>
                    <a:pt x="0" y="888"/>
                    <a:pt x="80" y="892"/>
                    <a:pt x="80" y="964"/>
                  </a:cubicBezTo>
                  <a:cubicBezTo>
                    <a:pt x="80" y="1036"/>
                    <a:pt x="0" y="1012"/>
                    <a:pt x="0" y="1076"/>
                  </a:cubicBezTo>
                  <a:cubicBezTo>
                    <a:pt x="0" y="1139"/>
                    <a:pt x="80" y="1141"/>
                    <a:pt x="80" y="1209"/>
                  </a:cubicBezTo>
                  <a:lnTo>
                    <a:pt x="80" y="1303"/>
                  </a:lnTo>
                  <a:lnTo>
                    <a:pt x="581" y="1745"/>
                  </a:lnTo>
                  <a:cubicBezTo>
                    <a:pt x="612" y="1773"/>
                    <a:pt x="651" y="1788"/>
                    <a:pt x="693" y="1788"/>
                  </a:cubicBezTo>
                  <a:lnTo>
                    <a:pt x="1086" y="1788"/>
                  </a:lnTo>
                  <a:cubicBezTo>
                    <a:pt x="1127" y="1788"/>
                    <a:pt x="1167" y="1773"/>
                    <a:pt x="1198" y="1745"/>
                  </a:cubicBezTo>
                  <a:lnTo>
                    <a:pt x="1695" y="1303"/>
                  </a:lnTo>
                  <a:lnTo>
                    <a:pt x="1695" y="1139"/>
                  </a:lnTo>
                  <a:cubicBezTo>
                    <a:pt x="1695" y="1071"/>
                    <a:pt x="1775" y="1069"/>
                    <a:pt x="1775" y="1005"/>
                  </a:cubicBezTo>
                  <a:cubicBezTo>
                    <a:pt x="1775" y="942"/>
                    <a:pt x="1695" y="966"/>
                    <a:pt x="1695" y="894"/>
                  </a:cubicBezTo>
                  <a:cubicBezTo>
                    <a:pt x="1695" y="822"/>
                    <a:pt x="1775" y="818"/>
                    <a:pt x="1775" y="752"/>
                  </a:cubicBezTo>
                  <a:cubicBezTo>
                    <a:pt x="1775" y="687"/>
                    <a:pt x="1695" y="713"/>
                    <a:pt x="1695" y="641"/>
                  </a:cubicBezTo>
                  <a:cubicBezTo>
                    <a:pt x="1695" y="569"/>
                    <a:pt x="1775" y="575"/>
                    <a:pt x="1775" y="514"/>
                  </a:cubicBezTo>
                  <a:cubicBezTo>
                    <a:pt x="1775" y="453"/>
                    <a:pt x="1695" y="453"/>
                    <a:pt x="1695" y="396"/>
                  </a:cubicBezTo>
                  <a:cubicBezTo>
                    <a:pt x="1695" y="339"/>
                    <a:pt x="1775" y="315"/>
                    <a:pt x="1775" y="272"/>
                  </a:cubicBezTo>
                  <a:lnTo>
                    <a:pt x="1775" y="272"/>
                  </a:lnTo>
                  <a:close/>
                </a:path>
              </a:pathLst>
            </a:custGeom>
            <a:solidFill>
              <a:srgbClr val="7F7F7F">
                <a:alpha val="50196"/>
              </a:srgb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4A6D00A-09B1-4948-AD7A-C906EF04827D}"/>
                </a:ext>
              </a:extLst>
            </p:cNvPr>
            <p:cNvCxnSpPr>
              <a:cxnSpLocks/>
            </p:cNvCxnSpPr>
            <p:nvPr/>
          </p:nvCxnSpPr>
          <p:spPr>
            <a:xfrm>
              <a:off x="2805256" y="3772450"/>
              <a:ext cx="785669" cy="3149"/>
            </a:xfrm>
            <a:prstGeom prst="line">
              <a:avLst/>
            </a:prstGeom>
            <a:ln w="28575">
              <a:solidFill>
                <a:srgbClr val="ADDDFF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7C812485-5629-469A-B7CE-F8767D819947}"/>
                </a:ext>
              </a:extLst>
            </p:cNvPr>
            <p:cNvCxnSpPr>
              <a:cxnSpLocks/>
            </p:cNvCxnSpPr>
            <p:nvPr/>
          </p:nvCxnSpPr>
          <p:spPr>
            <a:xfrm>
              <a:off x="2805256" y="4513813"/>
              <a:ext cx="828532" cy="0"/>
            </a:xfrm>
            <a:prstGeom prst="line">
              <a:avLst/>
            </a:prstGeom>
            <a:ln w="28575">
              <a:solidFill>
                <a:srgbClr val="ADDDFF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F5690098-1FED-4699-9C1C-64491450C83C}"/>
                </a:ext>
              </a:extLst>
            </p:cNvPr>
            <p:cNvCxnSpPr>
              <a:cxnSpLocks/>
            </p:cNvCxnSpPr>
            <p:nvPr/>
          </p:nvCxnSpPr>
          <p:spPr>
            <a:xfrm>
              <a:off x="2261876" y="5283752"/>
              <a:ext cx="1371912" cy="0"/>
            </a:xfrm>
            <a:prstGeom prst="line">
              <a:avLst/>
            </a:prstGeom>
            <a:ln w="28575">
              <a:solidFill>
                <a:srgbClr val="ADDDFF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C33B8E35-124A-4CDF-9AB5-3175F64A0F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936740" y="2671387"/>
              <a:ext cx="2738466" cy="566070"/>
            </a:xfrm>
            <a:prstGeom prst="rect">
              <a:avLst/>
            </a:prstGeom>
          </p:spPr>
        </p:pic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CBA21CEA-C541-4591-9305-9BCBED3B4EA3}"/>
                </a:ext>
              </a:extLst>
            </p:cNvPr>
            <p:cNvSpPr/>
            <p:nvPr/>
          </p:nvSpPr>
          <p:spPr>
            <a:xfrm>
              <a:off x="3668092" y="2658916"/>
              <a:ext cx="590472" cy="590472"/>
            </a:xfrm>
            <a:prstGeom prst="ellipse">
              <a:avLst/>
            </a:prstGeom>
            <a:solidFill>
              <a:srgbClr val="1D3768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1" name="Freeform 6">
              <a:extLst>
                <a:ext uri="{FF2B5EF4-FFF2-40B4-BE49-F238E27FC236}">
                  <a16:creationId xmlns:a16="http://schemas.microsoft.com/office/drawing/2014/main" id="{E8356F85-8163-4CCE-A9CE-947EB751CF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570" y="5355400"/>
              <a:ext cx="962516" cy="788861"/>
            </a:xfrm>
            <a:custGeom>
              <a:avLst/>
              <a:gdLst>
                <a:gd name="T0" fmla="*/ 1775 w 1775"/>
                <a:gd name="T1" fmla="*/ 272 h 1788"/>
                <a:gd name="T2" fmla="*/ 1775 w 1775"/>
                <a:gd name="T3" fmla="*/ 272 h 1788"/>
                <a:gd name="T4" fmla="*/ 1775 w 1775"/>
                <a:gd name="T5" fmla="*/ 53 h 1788"/>
                <a:gd name="T6" fmla="*/ 1723 w 1775"/>
                <a:gd name="T7" fmla="*/ 0 h 1788"/>
                <a:gd name="T8" fmla="*/ 52 w 1775"/>
                <a:gd name="T9" fmla="*/ 0 h 1788"/>
                <a:gd name="T10" fmla="*/ 0 w 1775"/>
                <a:gd name="T11" fmla="*/ 53 h 1788"/>
                <a:gd name="T12" fmla="*/ 0 w 1775"/>
                <a:gd name="T13" fmla="*/ 342 h 1788"/>
                <a:gd name="T14" fmla="*/ 80 w 1775"/>
                <a:gd name="T15" fmla="*/ 466 h 1788"/>
                <a:gd name="T16" fmla="*/ 0 w 1775"/>
                <a:gd name="T17" fmla="*/ 584 h 1788"/>
                <a:gd name="T18" fmla="*/ 80 w 1775"/>
                <a:gd name="T19" fmla="*/ 711 h 1788"/>
                <a:gd name="T20" fmla="*/ 0 w 1775"/>
                <a:gd name="T21" fmla="*/ 822 h 1788"/>
                <a:gd name="T22" fmla="*/ 80 w 1775"/>
                <a:gd name="T23" fmla="*/ 964 h 1788"/>
                <a:gd name="T24" fmla="*/ 0 w 1775"/>
                <a:gd name="T25" fmla="*/ 1076 h 1788"/>
                <a:gd name="T26" fmla="*/ 80 w 1775"/>
                <a:gd name="T27" fmla="*/ 1209 h 1788"/>
                <a:gd name="T28" fmla="*/ 80 w 1775"/>
                <a:gd name="T29" fmla="*/ 1303 h 1788"/>
                <a:gd name="T30" fmla="*/ 581 w 1775"/>
                <a:gd name="T31" fmla="*/ 1745 h 1788"/>
                <a:gd name="T32" fmla="*/ 693 w 1775"/>
                <a:gd name="T33" fmla="*/ 1788 h 1788"/>
                <a:gd name="T34" fmla="*/ 1086 w 1775"/>
                <a:gd name="T35" fmla="*/ 1788 h 1788"/>
                <a:gd name="T36" fmla="*/ 1198 w 1775"/>
                <a:gd name="T37" fmla="*/ 1745 h 1788"/>
                <a:gd name="T38" fmla="*/ 1695 w 1775"/>
                <a:gd name="T39" fmla="*/ 1303 h 1788"/>
                <a:gd name="T40" fmla="*/ 1695 w 1775"/>
                <a:gd name="T41" fmla="*/ 1139 h 1788"/>
                <a:gd name="T42" fmla="*/ 1775 w 1775"/>
                <a:gd name="T43" fmla="*/ 1005 h 1788"/>
                <a:gd name="T44" fmla="*/ 1695 w 1775"/>
                <a:gd name="T45" fmla="*/ 894 h 1788"/>
                <a:gd name="T46" fmla="*/ 1775 w 1775"/>
                <a:gd name="T47" fmla="*/ 752 h 1788"/>
                <a:gd name="T48" fmla="*/ 1695 w 1775"/>
                <a:gd name="T49" fmla="*/ 641 h 1788"/>
                <a:gd name="T50" fmla="*/ 1775 w 1775"/>
                <a:gd name="T51" fmla="*/ 514 h 1788"/>
                <a:gd name="T52" fmla="*/ 1695 w 1775"/>
                <a:gd name="T53" fmla="*/ 396 h 1788"/>
                <a:gd name="T54" fmla="*/ 1775 w 1775"/>
                <a:gd name="T55" fmla="*/ 272 h 1788"/>
                <a:gd name="T56" fmla="*/ 1775 w 1775"/>
                <a:gd name="T57" fmla="*/ 272 h 1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5" h="1788">
                  <a:moveTo>
                    <a:pt x="1775" y="272"/>
                  </a:moveTo>
                  <a:lnTo>
                    <a:pt x="1775" y="272"/>
                  </a:lnTo>
                  <a:lnTo>
                    <a:pt x="1775" y="53"/>
                  </a:lnTo>
                  <a:cubicBezTo>
                    <a:pt x="1775" y="24"/>
                    <a:pt x="1752" y="0"/>
                    <a:pt x="1723" y="0"/>
                  </a:cubicBezTo>
                  <a:lnTo>
                    <a:pt x="52" y="0"/>
                  </a:lnTo>
                  <a:cubicBezTo>
                    <a:pt x="23" y="0"/>
                    <a:pt x="0" y="24"/>
                    <a:pt x="0" y="53"/>
                  </a:cubicBezTo>
                  <a:lnTo>
                    <a:pt x="0" y="342"/>
                  </a:lnTo>
                  <a:cubicBezTo>
                    <a:pt x="0" y="386"/>
                    <a:pt x="80" y="409"/>
                    <a:pt x="80" y="466"/>
                  </a:cubicBezTo>
                  <a:cubicBezTo>
                    <a:pt x="80" y="523"/>
                    <a:pt x="0" y="523"/>
                    <a:pt x="0" y="584"/>
                  </a:cubicBezTo>
                  <a:cubicBezTo>
                    <a:pt x="0" y="645"/>
                    <a:pt x="80" y="639"/>
                    <a:pt x="80" y="711"/>
                  </a:cubicBezTo>
                  <a:cubicBezTo>
                    <a:pt x="80" y="783"/>
                    <a:pt x="0" y="757"/>
                    <a:pt x="0" y="822"/>
                  </a:cubicBezTo>
                  <a:cubicBezTo>
                    <a:pt x="0" y="888"/>
                    <a:pt x="80" y="892"/>
                    <a:pt x="80" y="964"/>
                  </a:cubicBezTo>
                  <a:cubicBezTo>
                    <a:pt x="80" y="1036"/>
                    <a:pt x="0" y="1012"/>
                    <a:pt x="0" y="1076"/>
                  </a:cubicBezTo>
                  <a:cubicBezTo>
                    <a:pt x="0" y="1139"/>
                    <a:pt x="80" y="1141"/>
                    <a:pt x="80" y="1209"/>
                  </a:cubicBezTo>
                  <a:lnTo>
                    <a:pt x="80" y="1303"/>
                  </a:lnTo>
                  <a:lnTo>
                    <a:pt x="581" y="1745"/>
                  </a:lnTo>
                  <a:cubicBezTo>
                    <a:pt x="612" y="1773"/>
                    <a:pt x="651" y="1788"/>
                    <a:pt x="693" y="1788"/>
                  </a:cubicBezTo>
                  <a:lnTo>
                    <a:pt x="1086" y="1788"/>
                  </a:lnTo>
                  <a:cubicBezTo>
                    <a:pt x="1127" y="1788"/>
                    <a:pt x="1167" y="1773"/>
                    <a:pt x="1198" y="1745"/>
                  </a:cubicBezTo>
                  <a:lnTo>
                    <a:pt x="1695" y="1303"/>
                  </a:lnTo>
                  <a:lnTo>
                    <a:pt x="1695" y="1139"/>
                  </a:lnTo>
                  <a:cubicBezTo>
                    <a:pt x="1695" y="1071"/>
                    <a:pt x="1775" y="1069"/>
                    <a:pt x="1775" y="1005"/>
                  </a:cubicBezTo>
                  <a:cubicBezTo>
                    <a:pt x="1775" y="942"/>
                    <a:pt x="1695" y="966"/>
                    <a:pt x="1695" y="894"/>
                  </a:cubicBezTo>
                  <a:cubicBezTo>
                    <a:pt x="1695" y="822"/>
                    <a:pt x="1775" y="818"/>
                    <a:pt x="1775" y="752"/>
                  </a:cubicBezTo>
                  <a:cubicBezTo>
                    <a:pt x="1775" y="687"/>
                    <a:pt x="1695" y="713"/>
                    <a:pt x="1695" y="641"/>
                  </a:cubicBezTo>
                  <a:cubicBezTo>
                    <a:pt x="1695" y="569"/>
                    <a:pt x="1775" y="575"/>
                    <a:pt x="1775" y="514"/>
                  </a:cubicBezTo>
                  <a:cubicBezTo>
                    <a:pt x="1775" y="453"/>
                    <a:pt x="1695" y="453"/>
                    <a:pt x="1695" y="396"/>
                  </a:cubicBezTo>
                  <a:cubicBezTo>
                    <a:pt x="1695" y="339"/>
                    <a:pt x="1775" y="315"/>
                    <a:pt x="1775" y="272"/>
                  </a:cubicBezTo>
                  <a:lnTo>
                    <a:pt x="1775" y="272"/>
                  </a:lnTo>
                  <a:close/>
                </a:path>
              </a:pathLst>
            </a:custGeom>
            <a:solidFill>
              <a:srgbClr val="B8B5B6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52F1D323-30AE-4517-A54A-4AF94D57E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6445" y="2332901"/>
              <a:ext cx="2179665" cy="714247"/>
            </a:xfrm>
            <a:custGeom>
              <a:avLst/>
              <a:gdLst>
                <a:gd name="T0" fmla="*/ 4021 w 4021"/>
                <a:gd name="T1" fmla="*/ 1317 h 1317"/>
                <a:gd name="T2" fmla="*/ 4021 w 4021"/>
                <a:gd name="T3" fmla="*/ 1317 h 1317"/>
                <a:gd name="T4" fmla="*/ 2010 w 4021"/>
                <a:gd name="T5" fmla="*/ 0 h 1317"/>
                <a:gd name="T6" fmla="*/ 0 w 4021"/>
                <a:gd name="T7" fmla="*/ 1317 h 1317"/>
                <a:gd name="T8" fmla="*/ 4021 w 4021"/>
                <a:gd name="T9" fmla="*/ 1317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21" h="1317">
                  <a:moveTo>
                    <a:pt x="4021" y="1317"/>
                  </a:moveTo>
                  <a:lnTo>
                    <a:pt x="4021" y="1317"/>
                  </a:lnTo>
                  <a:cubicBezTo>
                    <a:pt x="3733" y="492"/>
                    <a:pt x="2960" y="0"/>
                    <a:pt x="2010" y="0"/>
                  </a:cubicBezTo>
                  <a:cubicBezTo>
                    <a:pt x="1060" y="0"/>
                    <a:pt x="287" y="492"/>
                    <a:pt x="0" y="1317"/>
                  </a:cubicBezTo>
                  <a:lnTo>
                    <a:pt x="4021" y="1317"/>
                  </a:lnTo>
                  <a:close/>
                </a:path>
              </a:pathLst>
            </a:custGeom>
            <a:solidFill>
              <a:srgbClr val="1D376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1D3768"/>
                </a:solidFill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EE1B3CBC-DBF9-4CF3-AD22-EC53C1EA21F6}"/>
                </a:ext>
              </a:extLst>
            </p:cNvPr>
            <p:cNvCxnSpPr>
              <a:cxnSpLocks/>
            </p:cNvCxnSpPr>
            <p:nvPr/>
          </p:nvCxnSpPr>
          <p:spPr>
            <a:xfrm>
              <a:off x="2805256" y="3029500"/>
              <a:ext cx="921708" cy="0"/>
            </a:xfrm>
            <a:prstGeom prst="line">
              <a:avLst/>
            </a:prstGeom>
            <a:ln w="28575">
              <a:solidFill>
                <a:srgbClr val="1D376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6BDA0350-DF1B-4494-9C45-D0DFA0F7C46F}"/>
                </a:ext>
              </a:extLst>
            </p:cNvPr>
            <p:cNvSpPr/>
            <p:nvPr/>
          </p:nvSpPr>
          <p:spPr>
            <a:xfrm>
              <a:off x="4281518" y="2791860"/>
              <a:ext cx="2581710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da-DK" sz="1400" b="1"/>
                <a:t>Kapacitet og adgang</a:t>
              </a: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8B2F022B-58A4-4E8F-A730-45BAD3764FF6}"/>
                </a:ext>
              </a:extLst>
            </p:cNvPr>
            <p:cNvSpPr/>
            <p:nvPr/>
          </p:nvSpPr>
          <p:spPr>
            <a:xfrm>
              <a:off x="3668092" y="4148770"/>
              <a:ext cx="590472" cy="590472"/>
            </a:xfrm>
            <a:prstGeom prst="ellipse">
              <a:avLst/>
            </a:prstGeom>
            <a:solidFill>
              <a:srgbClr val="009DF0">
                <a:alpha val="20000"/>
              </a:srgb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DBD813A3-86B1-450F-AD56-28EF0EB2EC83}"/>
                </a:ext>
              </a:extLst>
            </p:cNvPr>
            <p:cNvSpPr/>
            <p:nvPr/>
          </p:nvSpPr>
          <p:spPr>
            <a:xfrm>
              <a:off x="3668092" y="4904827"/>
              <a:ext cx="590472" cy="590472"/>
            </a:xfrm>
            <a:prstGeom prst="ellipse">
              <a:avLst/>
            </a:prstGeom>
            <a:solidFill>
              <a:srgbClr val="009DF0">
                <a:alpha val="20000"/>
              </a:srgb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195596C6-77DC-41D1-9467-91418043AE30}"/>
                </a:ext>
              </a:extLst>
            </p:cNvPr>
            <p:cNvSpPr/>
            <p:nvPr/>
          </p:nvSpPr>
          <p:spPr>
            <a:xfrm>
              <a:off x="3668092" y="3408218"/>
              <a:ext cx="590472" cy="590472"/>
            </a:xfrm>
            <a:prstGeom prst="ellipse">
              <a:avLst/>
            </a:prstGeom>
            <a:solidFill>
              <a:srgbClr val="009DF0">
                <a:alpha val="20000"/>
              </a:srgb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E72A9DE6-8B85-41DD-BCBE-8C8F30427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844057" y="2746259"/>
              <a:ext cx="246873" cy="415786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AF93D3E1-65B9-497E-A1E1-93EAC51C0C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831084" y="3551054"/>
              <a:ext cx="247650" cy="304800"/>
            </a:xfrm>
            <a:prstGeom prst="rect">
              <a:avLst/>
            </a:prstGeom>
          </p:spPr>
        </p:pic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C224D6B3-718D-4ADB-8E60-1AEBAF692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3831084" y="5043611"/>
              <a:ext cx="257175" cy="323850"/>
            </a:xfrm>
            <a:prstGeom prst="rect">
              <a:avLst/>
            </a:prstGeom>
          </p:spPr>
        </p:pic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14F67C9A-1E37-43F9-875A-E0ED125B92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843785" y="4282730"/>
              <a:ext cx="304800" cy="285750"/>
            </a:xfrm>
            <a:prstGeom prst="rect">
              <a:avLst/>
            </a:prstGeom>
          </p:spPr>
        </p:pic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DA818D87-A91D-4302-A9A0-E38F806C6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275" y="3100619"/>
              <a:ext cx="2309528" cy="687510"/>
            </a:xfrm>
            <a:custGeom>
              <a:avLst/>
              <a:gdLst>
                <a:gd name="T0" fmla="*/ 0 w 4262"/>
                <a:gd name="T1" fmla="*/ 643 h 1268"/>
                <a:gd name="T2" fmla="*/ 0 w 4262"/>
                <a:gd name="T3" fmla="*/ 643 h 1268"/>
                <a:gd name="T4" fmla="*/ 85 w 4262"/>
                <a:gd name="T5" fmla="*/ 1268 h 1268"/>
                <a:gd name="T6" fmla="*/ 4178 w 4262"/>
                <a:gd name="T7" fmla="*/ 1268 h 1268"/>
                <a:gd name="T8" fmla="*/ 4262 w 4262"/>
                <a:gd name="T9" fmla="*/ 643 h 1268"/>
                <a:gd name="T10" fmla="*/ 4174 w 4262"/>
                <a:gd name="T11" fmla="*/ 0 h 1268"/>
                <a:gd name="T12" fmla="*/ 89 w 4262"/>
                <a:gd name="T13" fmla="*/ 0 h 1268"/>
                <a:gd name="T14" fmla="*/ 0 w 4262"/>
                <a:gd name="T15" fmla="*/ 643 h 1268"/>
                <a:gd name="T16" fmla="*/ 0 w 4262"/>
                <a:gd name="T17" fmla="*/ 643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62" h="1268">
                  <a:moveTo>
                    <a:pt x="0" y="643"/>
                  </a:moveTo>
                  <a:lnTo>
                    <a:pt x="0" y="643"/>
                  </a:lnTo>
                  <a:cubicBezTo>
                    <a:pt x="0" y="876"/>
                    <a:pt x="32" y="1082"/>
                    <a:pt x="85" y="1268"/>
                  </a:cubicBezTo>
                  <a:lnTo>
                    <a:pt x="4178" y="1268"/>
                  </a:lnTo>
                  <a:cubicBezTo>
                    <a:pt x="4230" y="1082"/>
                    <a:pt x="4262" y="876"/>
                    <a:pt x="4262" y="643"/>
                  </a:cubicBezTo>
                  <a:cubicBezTo>
                    <a:pt x="4262" y="412"/>
                    <a:pt x="4231" y="198"/>
                    <a:pt x="4174" y="0"/>
                  </a:cubicBezTo>
                  <a:lnTo>
                    <a:pt x="89" y="0"/>
                  </a:lnTo>
                  <a:cubicBezTo>
                    <a:pt x="31" y="198"/>
                    <a:pt x="0" y="412"/>
                    <a:pt x="0" y="643"/>
                  </a:cubicBezTo>
                  <a:lnTo>
                    <a:pt x="0" y="643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1566BA18-6B78-48C4-9E2F-5A1BA3164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9519" y="4583861"/>
              <a:ext cx="1429769" cy="714247"/>
            </a:xfrm>
            <a:custGeom>
              <a:avLst/>
              <a:gdLst>
                <a:gd name="T0" fmla="*/ 0 w 2640"/>
                <a:gd name="T1" fmla="*/ 0 h 1317"/>
                <a:gd name="T2" fmla="*/ 0 w 2640"/>
                <a:gd name="T3" fmla="*/ 0 h 1317"/>
                <a:gd name="T4" fmla="*/ 127 w 2640"/>
                <a:gd name="T5" fmla="*/ 630 h 1317"/>
                <a:gd name="T6" fmla="*/ 610 w 2640"/>
                <a:gd name="T7" fmla="*/ 1317 h 1317"/>
                <a:gd name="T8" fmla="*/ 2030 w 2640"/>
                <a:gd name="T9" fmla="*/ 1317 h 1317"/>
                <a:gd name="T10" fmla="*/ 2513 w 2640"/>
                <a:gd name="T11" fmla="*/ 630 h 1317"/>
                <a:gd name="T12" fmla="*/ 2640 w 2640"/>
                <a:gd name="T13" fmla="*/ 0 h 1317"/>
                <a:gd name="T14" fmla="*/ 0 w 2640"/>
                <a:gd name="T15" fmla="*/ 0 h 1317"/>
                <a:gd name="T16" fmla="*/ 0 w 2640"/>
                <a:gd name="T17" fmla="*/ 0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0" h="1317">
                  <a:moveTo>
                    <a:pt x="0" y="0"/>
                  </a:moveTo>
                  <a:lnTo>
                    <a:pt x="0" y="0"/>
                  </a:lnTo>
                  <a:cubicBezTo>
                    <a:pt x="77" y="190"/>
                    <a:pt x="127" y="394"/>
                    <a:pt x="127" y="630"/>
                  </a:cubicBezTo>
                  <a:cubicBezTo>
                    <a:pt x="127" y="857"/>
                    <a:pt x="340" y="1317"/>
                    <a:pt x="610" y="1317"/>
                  </a:cubicBezTo>
                  <a:lnTo>
                    <a:pt x="2030" y="1317"/>
                  </a:lnTo>
                  <a:cubicBezTo>
                    <a:pt x="2300" y="1317"/>
                    <a:pt x="2513" y="857"/>
                    <a:pt x="2513" y="630"/>
                  </a:cubicBezTo>
                  <a:cubicBezTo>
                    <a:pt x="2513" y="394"/>
                    <a:pt x="2563" y="190"/>
                    <a:pt x="264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A1ED0312-38B5-47E2-A318-124E649151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661" y="3842876"/>
              <a:ext cx="2184757" cy="687510"/>
            </a:xfrm>
            <a:custGeom>
              <a:avLst/>
              <a:gdLst>
                <a:gd name="T0" fmla="*/ 3379 w 4032"/>
                <a:gd name="T1" fmla="*/ 1267 h 1267"/>
                <a:gd name="T2" fmla="*/ 3379 w 4032"/>
                <a:gd name="T3" fmla="*/ 1267 h 1267"/>
                <a:gd name="T4" fmla="*/ 4032 w 4032"/>
                <a:gd name="T5" fmla="*/ 0 h 1267"/>
                <a:gd name="T6" fmla="*/ 0 w 4032"/>
                <a:gd name="T7" fmla="*/ 0 h 1267"/>
                <a:gd name="T8" fmla="*/ 653 w 4032"/>
                <a:gd name="T9" fmla="*/ 1267 h 1267"/>
                <a:gd name="T10" fmla="*/ 3379 w 4032"/>
                <a:gd name="T11" fmla="*/ 1267 h 1267"/>
                <a:gd name="T12" fmla="*/ 3379 w 4032"/>
                <a:gd name="T13" fmla="*/ 1267 h 1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32" h="1267">
                  <a:moveTo>
                    <a:pt x="3379" y="1267"/>
                  </a:moveTo>
                  <a:lnTo>
                    <a:pt x="3379" y="1267"/>
                  </a:lnTo>
                  <a:cubicBezTo>
                    <a:pt x="3568" y="854"/>
                    <a:pt x="3869" y="495"/>
                    <a:pt x="4032" y="0"/>
                  </a:cubicBezTo>
                  <a:lnTo>
                    <a:pt x="0" y="0"/>
                  </a:lnTo>
                  <a:cubicBezTo>
                    <a:pt x="163" y="495"/>
                    <a:pt x="464" y="854"/>
                    <a:pt x="653" y="1267"/>
                  </a:cubicBezTo>
                  <a:lnTo>
                    <a:pt x="3379" y="1267"/>
                  </a:lnTo>
                  <a:lnTo>
                    <a:pt x="3379" y="126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685340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B7E7B85B-CF63-4473-B930-1A73495DE9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0" imgH="393" progId="TCLayout.ActiveDocument.1">
                  <p:embed/>
                </p:oleObj>
              </mc:Choice>
              <mc:Fallback>
                <p:oleObj name="think-cell Slide" r:id="rId4" imgW="400" imgH="393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B7E7B85B-CF63-4473-B930-1A73495DE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0A07BD-E120-437B-BE84-4B44385DC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B854C339-1E7E-42C9-A1E2-868ABD64E2A5}"/>
              </a:ext>
            </a:extLst>
          </p:cNvPr>
          <p:cNvSpPr txBox="1">
            <a:spLocks/>
          </p:cNvSpPr>
          <p:nvPr/>
        </p:nvSpPr>
        <p:spPr>
          <a:xfrm>
            <a:off x="358775" y="39103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Etablering og drift af TDU-faciliteter er omkostningstungt - også inden for </a:t>
            </a:r>
            <a:r>
              <a:rPr lang="da-DK" dirty="0" err="1"/>
              <a:t>life</a:t>
            </a:r>
            <a:r>
              <a:rPr lang="da-DK" dirty="0"/>
              <a:t> science og velfærdsteknologi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9289ED5-C619-4731-8CD9-C2B3D7524FE8}"/>
              </a:ext>
            </a:extLst>
          </p:cNvPr>
          <p:cNvGrpSpPr/>
          <p:nvPr/>
        </p:nvGrpSpPr>
        <p:grpSpPr>
          <a:xfrm>
            <a:off x="1053625" y="2658916"/>
            <a:ext cx="3228289" cy="3485345"/>
            <a:chOff x="1030275" y="2658916"/>
            <a:chExt cx="3228289" cy="3485345"/>
          </a:xfrm>
        </p:grpSpPr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CA6AA8F4-F391-4503-9878-FFF148469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0332" y="5355400"/>
              <a:ext cx="962516" cy="788861"/>
            </a:xfrm>
            <a:custGeom>
              <a:avLst/>
              <a:gdLst>
                <a:gd name="T0" fmla="*/ 1775 w 1775"/>
                <a:gd name="T1" fmla="*/ 272 h 1788"/>
                <a:gd name="T2" fmla="*/ 1775 w 1775"/>
                <a:gd name="T3" fmla="*/ 272 h 1788"/>
                <a:gd name="T4" fmla="*/ 1775 w 1775"/>
                <a:gd name="T5" fmla="*/ 53 h 1788"/>
                <a:gd name="T6" fmla="*/ 1723 w 1775"/>
                <a:gd name="T7" fmla="*/ 0 h 1788"/>
                <a:gd name="T8" fmla="*/ 52 w 1775"/>
                <a:gd name="T9" fmla="*/ 0 h 1788"/>
                <a:gd name="T10" fmla="*/ 0 w 1775"/>
                <a:gd name="T11" fmla="*/ 53 h 1788"/>
                <a:gd name="T12" fmla="*/ 0 w 1775"/>
                <a:gd name="T13" fmla="*/ 342 h 1788"/>
                <a:gd name="T14" fmla="*/ 80 w 1775"/>
                <a:gd name="T15" fmla="*/ 466 h 1788"/>
                <a:gd name="T16" fmla="*/ 0 w 1775"/>
                <a:gd name="T17" fmla="*/ 584 h 1788"/>
                <a:gd name="T18" fmla="*/ 80 w 1775"/>
                <a:gd name="T19" fmla="*/ 711 h 1788"/>
                <a:gd name="T20" fmla="*/ 0 w 1775"/>
                <a:gd name="T21" fmla="*/ 822 h 1788"/>
                <a:gd name="T22" fmla="*/ 80 w 1775"/>
                <a:gd name="T23" fmla="*/ 964 h 1788"/>
                <a:gd name="T24" fmla="*/ 0 w 1775"/>
                <a:gd name="T25" fmla="*/ 1076 h 1788"/>
                <a:gd name="T26" fmla="*/ 80 w 1775"/>
                <a:gd name="T27" fmla="*/ 1209 h 1788"/>
                <a:gd name="T28" fmla="*/ 80 w 1775"/>
                <a:gd name="T29" fmla="*/ 1303 h 1788"/>
                <a:gd name="T30" fmla="*/ 581 w 1775"/>
                <a:gd name="T31" fmla="*/ 1745 h 1788"/>
                <a:gd name="T32" fmla="*/ 693 w 1775"/>
                <a:gd name="T33" fmla="*/ 1788 h 1788"/>
                <a:gd name="T34" fmla="*/ 1086 w 1775"/>
                <a:gd name="T35" fmla="*/ 1788 h 1788"/>
                <a:gd name="T36" fmla="*/ 1198 w 1775"/>
                <a:gd name="T37" fmla="*/ 1745 h 1788"/>
                <a:gd name="T38" fmla="*/ 1695 w 1775"/>
                <a:gd name="T39" fmla="*/ 1303 h 1788"/>
                <a:gd name="T40" fmla="*/ 1695 w 1775"/>
                <a:gd name="T41" fmla="*/ 1139 h 1788"/>
                <a:gd name="T42" fmla="*/ 1775 w 1775"/>
                <a:gd name="T43" fmla="*/ 1005 h 1788"/>
                <a:gd name="T44" fmla="*/ 1695 w 1775"/>
                <a:gd name="T45" fmla="*/ 894 h 1788"/>
                <a:gd name="T46" fmla="*/ 1775 w 1775"/>
                <a:gd name="T47" fmla="*/ 752 h 1788"/>
                <a:gd name="T48" fmla="*/ 1695 w 1775"/>
                <a:gd name="T49" fmla="*/ 641 h 1788"/>
                <a:gd name="T50" fmla="*/ 1775 w 1775"/>
                <a:gd name="T51" fmla="*/ 514 h 1788"/>
                <a:gd name="T52" fmla="*/ 1695 w 1775"/>
                <a:gd name="T53" fmla="*/ 396 h 1788"/>
                <a:gd name="T54" fmla="*/ 1775 w 1775"/>
                <a:gd name="T55" fmla="*/ 272 h 1788"/>
                <a:gd name="T56" fmla="*/ 1775 w 1775"/>
                <a:gd name="T57" fmla="*/ 272 h 1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5" h="1788">
                  <a:moveTo>
                    <a:pt x="1775" y="272"/>
                  </a:moveTo>
                  <a:lnTo>
                    <a:pt x="1775" y="272"/>
                  </a:lnTo>
                  <a:lnTo>
                    <a:pt x="1775" y="53"/>
                  </a:lnTo>
                  <a:cubicBezTo>
                    <a:pt x="1775" y="24"/>
                    <a:pt x="1752" y="0"/>
                    <a:pt x="1723" y="0"/>
                  </a:cubicBezTo>
                  <a:lnTo>
                    <a:pt x="52" y="0"/>
                  </a:lnTo>
                  <a:cubicBezTo>
                    <a:pt x="23" y="0"/>
                    <a:pt x="0" y="24"/>
                    <a:pt x="0" y="53"/>
                  </a:cubicBezTo>
                  <a:lnTo>
                    <a:pt x="0" y="342"/>
                  </a:lnTo>
                  <a:cubicBezTo>
                    <a:pt x="0" y="386"/>
                    <a:pt x="80" y="409"/>
                    <a:pt x="80" y="466"/>
                  </a:cubicBezTo>
                  <a:cubicBezTo>
                    <a:pt x="80" y="523"/>
                    <a:pt x="0" y="523"/>
                    <a:pt x="0" y="584"/>
                  </a:cubicBezTo>
                  <a:cubicBezTo>
                    <a:pt x="0" y="645"/>
                    <a:pt x="80" y="639"/>
                    <a:pt x="80" y="711"/>
                  </a:cubicBezTo>
                  <a:cubicBezTo>
                    <a:pt x="80" y="783"/>
                    <a:pt x="0" y="757"/>
                    <a:pt x="0" y="822"/>
                  </a:cubicBezTo>
                  <a:cubicBezTo>
                    <a:pt x="0" y="888"/>
                    <a:pt x="80" y="892"/>
                    <a:pt x="80" y="964"/>
                  </a:cubicBezTo>
                  <a:cubicBezTo>
                    <a:pt x="80" y="1036"/>
                    <a:pt x="0" y="1012"/>
                    <a:pt x="0" y="1076"/>
                  </a:cubicBezTo>
                  <a:cubicBezTo>
                    <a:pt x="0" y="1139"/>
                    <a:pt x="80" y="1141"/>
                    <a:pt x="80" y="1209"/>
                  </a:cubicBezTo>
                  <a:lnTo>
                    <a:pt x="80" y="1303"/>
                  </a:lnTo>
                  <a:lnTo>
                    <a:pt x="581" y="1745"/>
                  </a:lnTo>
                  <a:cubicBezTo>
                    <a:pt x="612" y="1773"/>
                    <a:pt x="651" y="1788"/>
                    <a:pt x="693" y="1788"/>
                  </a:cubicBezTo>
                  <a:lnTo>
                    <a:pt x="1086" y="1788"/>
                  </a:lnTo>
                  <a:cubicBezTo>
                    <a:pt x="1127" y="1788"/>
                    <a:pt x="1167" y="1773"/>
                    <a:pt x="1198" y="1745"/>
                  </a:cubicBezTo>
                  <a:lnTo>
                    <a:pt x="1695" y="1303"/>
                  </a:lnTo>
                  <a:lnTo>
                    <a:pt x="1695" y="1139"/>
                  </a:lnTo>
                  <a:cubicBezTo>
                    <a:pt x="1695" y="1071"/>
                    <a:pt x="1775" y="1069"/>
                    <a:pt x="1775" y="1005"/>
                  </a:cubicBezTo>
                  <a:cubicBezTo>
                    <a:pt x="1775" y="942"/>
                    <a:pt x="1695" y="966"/>
                    <a:pt x="1695" y="894"/>
                  </a:cubicBezTo>
                  <a:cubicBezTo>
                    <a:pt x="1695" y="822"/>
                    <a:pt x="1775" y="818"/>
                    <a:pt x="1775" y="752"/>
                  </a:cubicBezTo>
                  <a:cubicBezTo>
                    <a:pt x="1775" y="687"/>
                    <a:pt x="1695" y="713"/>
                    <a:pt x="1695" y="641"/>
                  </a:cubicBezTo>
                  <a:cubicBezTo>
                    <a:pt x="1695" y="569"/>
                    <a:pt x="1775" y="575"/>
                    <a:pt x="1775" y="514"/>
                  </a:cubicBezTo>
                  <a:cubicBezTo>
                    <a:pt x="1775" y="453"/>
                    <a:pt x="1695" y="453"/>
                    <a:pt x="1695" y="396"/>
                  </a:cubicBezTo>
                  <a:cubicBezTo>
                    <a:pt x="1695" y="339"/>
                    <a:pt x="1775" y="315"/>
                    <a:pt x="1775" y="272"/>
                  </a:cubicBezTo>
                  <a:lnTo>
                    <a:pt x="1775" y="272"/>
                  </a:lnTo>
                  <a:close/>
                </a:path>
              </a:pathLst>
            </a:custGeom>
            <a:solidFill>
              <a:srgbClr val="7F7F7F">
                <a:alpha val="50196"/>
              </a:srgbClr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23C6F0CD-BC2E-4EC8-B895-5DC31244B5CC}"/>
                </a:ext>
              </a:extLst>
            </p:cNvPr>
            <p:cNvCxnSpPr>
              <a:cxnSpLocks/>
            </p:cNvCxnSpPr>
            <p:nvPr/>
          </p:nvCxnSpPr>
          <p:spPr>
            <a:xfrm>
              <a:off x="2805256" y="4513813"/>
              <a:ext cx="828532" cy="0"/>
            </a:xfrm>
            <a:prstGeom prst="line">
              <a:avLst/>
            </a:prstGeom>
            <a:ln w="28575">
              <a:solidFill>
                <a:srgbClr val="ADDDFF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036D8A4B-C4C9-4A59-BFD4-24FA231F9BB2}"/>
                </a:ext>
              </a:extLst>
            </p:cNvPr>
            <p:cNvCxnSpPr>
              <a:cxnSpLocks/>
            </p:cNvCxnSpPr>
            <p:nvPr/>
          </p:nvCxnSpPr>
          <p:spPr>
            <a:xfrm>
              <a:off x="2261876" y="5283752"/>
              <a:ext cx="1371912" cy="0"/>
            </a:xfrm>
            <a:prstGeom prst="line">
              <a:avLst/>
            </a:prstGeom>
            <a:ln w="28575">
              <a:solidFill>
                <a:srgbClr val="ADDDFF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9B4D538F-C993-416D-BD1C-3A35E64EB22B}"/>
                </a:ext>
              </a:extLst>
            </p:cNvPr>
            <p:cNvSpPr/>
            <p:nvPr/>
          </p:nvSpPr>
          <p:spPr>
            <a:xfrm>
              <a:off x="3668092" y="2658916"/>
              <a:ext cx="590472" cy="590472"/>
            </a:xfrm>
            <a:prstGeom prst="ellipse">
              <a:avLst/>
            </a:prstGeom>
            <a:solidFill>
              <a:schemeClr val="tx2">
                <a:alpha val="2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401089A0-FC8A-4333-86B5-5E80F9FA9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570" y="5355400"/>
              <a:ext cx="962516" cy="788861"/>
            </a:xfrm>
            <a:custGeom>
              <a:avLst/>
              <a:gdLst>
                <a:gd name="T0" fmla="*/ 1775 w 1775"/>
                <a:gd name="T1" fmla="*/ 272 h 1788"/>
                <a:gd name="T2" fmla="*/ 1775 w 1775"/>
                <a:gd name="T3" fmla="*/ 272 h 1788"/>
                <a:gd name="T4" fmla="*/ 1775 w 1775"/>
                <a:gd name="T5" fmla="*/ 53 h 1788"/>
                <a:gd name="T6" fmla="*/ 1723 w 1775"/>
                <a:gd name="T7" fmla="*/ 0 h 1788"/>
                <a:gd name="T8" fmla="*/ 52 w 1775"/>
                <a:gd name="T9" fmla="*/ 0 h 1788"/>
                <a:gd name="T10" fmla="*/ 0 w 1775"/>
                <a:gd name="T11" fmla="*/ 53 h 1788"/>
                <a:gd name="T12" fmla="*/ 0 w 1775"/>
                <a:gd name="T13" fmla="*/ 342 h 1788"/>
                <a:gd name="T14" fmla="*/ 80 w 1775"/>
                <a:gd name="T15" fmla="*/ 466 h 1788"/>
                <a:gd name="T16" fmla="*/ 0 w 1775"/>
                <a:gd name="T17" fmla="*/ 584 h 1788"/>
                <a:gd name="T18" fmla="*/ 80 w 1775"/>
                <a:gd name="T19" fmla="*/ 711 h 1788"/>
                <a:gd name="T20" fmla="*/ 0 w 1775"/>
                <a:gd name="T21" fmla="*/ 822 h 1788"/>
                <a:gd name="T22" fmla="*/ 80 w 1775"/>
                <a:gd name="T23" fmla="*/ 964 h 1788"/>
                <a:gd name="T24" fmla="*/ 0 w 1775"/>
                <a:gd name="T25" fmla="*/ 1076 h 1788"/>
                <a:gd name="T26" fmla="*/ 80 w 1775"/>
                <a:gd name="T27" fmla="*/ 1209 h 1788"/>
                <a:gd name="T28" fmla="*/ 80 w 1775"/>
                <a:gd name="T29" fmla="*/ 1303 h 1788"/>
                <a:gd name="T30" fmla="*/ 581 w 1775"/>
                <a:gd name="T31" fmla="*/ 1745 h 1788"/>
                <a:gd name="T32" fmla="*/ 693 w 1775"/>
                <a:gd name="T33" fmla="*/ 1788 h 1788"/>
                <a:gd name="T34" fmla="*/ 1086 w 1775"/>
                <a:gd name="T35" fmla="*/ 1788 h 1788"/>
                <a:gd name="T36" fmla="*/ 1198 w 1775"/>
                <a:gd name="T37" fmla="*/ 1745 h 1788"/>
                <a:gd name="T38" fmla="*/ 1695 w 1775"/>
                <a:gd name="T39" fmla="*/ 1303 h 1788"/>
                <a:gd name="T40" fmla="*/ 1695 w 1775"/>
                <a:gd name="T41" fmla="*/ 1139 h 1788"/>
                <a:gd name="T42" fmla="*/ 1775 w 1775"/>
                <a:gd name="T43" fmla="*/ 1005 h 1788"/>
                <a:gd name="T44" fmla="*/ 1695 w 1775"/>
                <a:gd name="T45" fmla="*/ 894 h 1788"/>
                <a:gd name="T46" fmla="*/ 1775 w 1775"/>
                <a:gd name="T47" fmla="*/ 752 h 1788"/>
                <a:gd name="T48" fmla="*/ 1695 w 1775"/>
                <a:gd name="T49" fmla="*/ 641 h 1788"/>
                <a:gd name="T50" fmla="*/ 1775 w 1775"/>
                <a:gd name="T51" fmla="*/ 514 h 1788"/>
                <a:gd name="T52" fmla="*/ 1695 w 1775"/>
                <a:gd name="T53" fmla="*/ 396 h 1788"/>
                <a:gd name="T54" fmla="*/ 1775 w 1775"/>
                <a:gd name="T55" fmla="*/ 272 h 1788"/>
                <a:gd name="T56" fmla="*/ 1775 w 1775"/>
                <a:gd name="T57" fmla="*/ 272 h 1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5" h="1788">
                  <a:moveTo>
                    <a:pt x="1775" y="272"/>
                  </a:moveTo>
                  <a:lnTo>
                    <a:pt x="1775" y="272"/>
                  </a:lnTo>
                  <a:lnTo>
                    <a:pt x="1775" y="53"/>
                  </a:lnTo>
                  <a:cubicBezTo>
                    <a:pt x="1775" y="24"/>
                    <a:pt x="1752" y="0"/>
                    <a:pt x="1723" y="0"/>
                  </a:cubicBezTo>
                  <a:lnTo>
                    <a:pt x="52" y="0"/>
                  </a:lnTo>
                  <a:cubicBezTo>
                    <a:pt x="23" y="0"/>
                    <a:pt x="0" y="24"/>
                    <a:pt x="0" y="53"/>
                  </a:cubicBezTo>
                  <a:lnTo>
                    <a:pt x="0" y="342"/>
                  </a:lnTo>
                  <a:cubicBezTo>
                    <a:pt x="0" y="386"/>
                    <a:pt x="80" y="409"/>
                    <a:pt x="80" y="466"/>
                  </a:cubicBezTo>
                  <a:cubicBezTo>
                    <a:pt x="80" y="523"/>
                    <a:pt x="0" y="523"/>
                    <a:pt x="0" y="584"/>
                  </a:cubicBezTo>
                  <a:cubicBezTo>
                    <a:pt x="0" y="645"/>
                    <a:pt x="80" y="639"/>
                    <a:pt x="80" y="711"/>
                  </a:cubicBezTo>
                  <a:cubicBezTo>
                    <a:pt x="80" y="783"/>
                    <a:pt x="0" y="757"/>
                    <a:pt x="0" y="822"/>
                  </a:cubicBezTo>
                  <a:cubicBezTo>
                    <a:pt x="0" y="888"/>
                    <a:pt x="80" y="892"/>
                    <a:pt x="80" y="964"/>
                  </a:cubicBezTo>
                  <a:cubicBezTo>
                    <a:pt x="80" y="1036"/>
                    <a:pt x="0" y="1012"/>
                    <a:pt x="0" y="1076"/>
                  </a:cubicBezTo>
                  <a:cubicBezTo>
                    <a:pt x="0" y="1139"/>
                    <a:pt x="80" y="1141"/>
                    <a:pt x="80" y="1209"/>
                  </a:cubicBezTo>
                  <a:lnTo>
                    <a:pt x="80" y="1303"/>
                  </a:lnTo>
                  <a:lnTo>
                    <a:pt x="581" y="1745"/>
                  </a:lnTo>
                  <a:cubicBezTo>
                    <a:pt x="612" y="1773"/>
                    <a:pt x="651" y="1788"/>
                    <a:pt x="693" y="1788"/>
                  </a:cubicBezTo>
                  <a:lnTo>
                    <a:pt x="1086" y="1788"/>
                  </a:lnTo>
                  <a:cubicBezTo>
                    <a:pt x="1127" y="1788"/>
                    <a:pt x="1167" y="1773"/>
                    <a:pt x="1198" y="1745"/>
                  </a:cubicBezTo>
                  <a:lnTo>
                    <a:pt x="1695" y="1303"/>
                  </a:lnTo>
                  <a:lnTo>
                    <a:pt x="1695" y="1139"/>
                  </a:lnTo>
                  <a:cubicBezTo>
                    <a:pt x="1695" y="1071"/>
                    <a:pt x="1775" y="1069"/>
                    <a:pt x="1775" y="1005"/>
                  </a:cubicBezTo>
                  <a:cubicBezTo>
                    <a:pt x="1775" y="942"/>
                    <a:pt x="1695" y="966"/>
                    <a:pt x="1695" y="894"/>
                  </a:cubicBezTo>
                  <a:cubicBezTo>
                    <a:pt x="1695" y="822"/>
                    <a:pt x="1775" y="818"/>
                    <a:pt x="1775" y="752"/>
                  </a:cubicBezTo>
                  <a:cubicBezTo>
                    <a:pt x="1775" y="687"/>
                    <a:pt x="1695" y="713"/>
                    <a:pt x="1695" y="641"/>
                  </a:cubicBezTo>
                  <a:cubicBezTo>
                    <a:pt x="1695" y="569"/>
                    <a:pt x="1775" y="575"/>
                    <a:pt x="1775" y="514"/>
                  </a:cubicBezTo>
                  <a:cubicBezTo>
                    <a:pt x="1775" y="453"/>
                    <a:pt x="1695" y="453"/>
                    <a:pt x="1695" y="396"/>
                  </a:cubicBezTo>
                  <a:cubicBezTo>
                    <a:pt x="1695" y="339"/>
                    <a:pt x="1775" y="315"/>
                    <a:pt x="1775" y="272"/>
                  </a:cubicBezTo>
                  <a:lnTo>
                    <a:pt x="1775" y="272"/>
                  </a:lnTo>
                  <a:close/>
                </a:path>
              </a:pathLst>
            </a:custGeom>
            <a:solidFill>
              <a:srgbClr val="B8B5B6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38675E58-B843-4CB9-9D64-A63B12544FDE}"/>
                </a:ext>
              </a:extLst>
            </p:cNvPr>
            <p:cNvCxnSpPr>
              <a:cxnSpLocks/>
            </p:cNvCxnSpPr>
            <p:nvPr/>
          </p:nvCxnSpPr>
          <p:spPr>
            <a:xfrm>
              <a:off x="2805256" y="3029500"/>
              <a:ext cx="828532" cy="0"/>
            </a:xfrm>
            <a:prstGeom prst="line">
              <a:avLst/>
            </a:prstGeom>
            <a:ln w="28575">
              <a:solidFill>
                <a:srgbClr val="ADDDFF">
                  <a:alpha val="2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FD0576C8-51D8-4B1F-A93B-8DE6062956BD}"/>
                </a:ext>
              </a:extLst>
            </p:cNvPr>
            <p:cNvSpPr/>
            <p:nvPr/>
          </p:nvSpPr>
          <p:spPr>
            <a:xfrm>
              <a:off x="3668092" y="4148770"/>
              <a:ext cx="590472" cy="590472"/>
            </a:xfrm>
            <a:prstGeom prst="ellipse">
              <a:avLst/>
            </a:prstGeom>
            <a:solidFill>
              <a:srgbClr val="009DF0">
                <a:alpha val="20000"/>
              </a:srgb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796FD862-720E-481B-9E11-8E11EE715925}"/>
                </a:ext>
              </a:extLst>
            </p:cNvPr>
            <p:cNvSpPr/>
            <p:nvPr/>
          </p:nvSpPr>
          <p:spPr>
            <a:xfrm>
              <a:off x="3668092" y="4904827"/>
              <a:ext cx="590472" cy="590472"/>
            </a:xfrm>
            <a:prstGeom prst="ellipse">
              <a:avLst/>
            </a:prstGeom>
            <a:solidFill>
              <a:srgbClr val="009DF0">
                <a:alpha val="20000"/>
              </a:srgb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1E4F7EE3-A6DF-47D0-9E1E-63C11FF194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844057" y="2746259"/>
              <a:ext cx="246873" cy="415786"/>
            </a:xfrm>
            <a:prstGeom prst="rect">
              <a:avLst/>
            </a:prstGeom>
          </p:spPr>
        </p:pic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C2054AE8-E6D7-4812-ADB6-C72D5D25F2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831084" y="5043611"/>
              <a:ext cx="257175" cy="323850"/>
            </a:xfrm>
            <a:prstGeom prst="rect">
              <a:avLst/>
            </a:prstGeom>
          </p:spPr>
        </p:pic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BD7D0F6A-734D-4D3E-BCFD-01665295A0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843785" y="4282730"/>
              <a:ext cx="304800" cy="285750"/>
            </a:xfrm>
            <a:prstGeom prst="rect">
              <a:avLst/>
            </a:prstGeom>
          </p:spPr>
        </p:pic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114B1186-A103-46A8-95D5-6B4FCD733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275" y="3100619"/>
              <a:ext cx="2309528" cy="687510"/>
            </a:xfrm>
            <a:custGeom>
              <a:avLst/>
              <a:gdLst>
                <a:gd name="T0" fmla="*/ 0 w 4262"/>
                <a:gd name="T1" fmla="*/ 643 h 1268"/>
                <a:gd name="T2" fmla="*/ 0 w 4262"/>
                <a:gd name="T3" fmla="*/ 643 h 1268"/>
                <a:gd name="T4" fmla="*/ 85 w 4262"/>
                <a:gd name="T5" fmla="*/ 1268 h 1268"/>
                <a:gd name="T6" fmla="*/ 4178 w 4262"/>
                <a:gd name="T7" fmla="*/ 1268 h 1268"/>
                <a:gd name="T8" fmla="*/ 4262 w 4262"/>
                <a:gd name="T9" fmla="*/ 643 h 1268"/>
                <a:gd name="T10" fmla="*/ 4174 w 4262"/>
                <a:gd name="T11" fmla="*/ 0 h 1268"/>
                <a:gd name="T12" fmla="*/ 89 w 4262"/>
                <a:gd name="T13" fmla="*/ 0 h 1268"/>
                <a:gd name="T14" fmla="*/ 0 w 4262"/>
                <a:gd name="T15" fmla="*/ 643 h 1268"/>
                <a:gd name="T16" fmla="*/ 0 w 4262"/>
                <a:gd name="T17" fmla="*/ 643 h 1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62" h="1268">
                  <a:moveTo>
                    <a:pt x="0" y="643"/>
                  </a:moveTo>
                  <a:lnTo>
                    <a:pt x="0" y="643"/>
                  </a:lnTo>
                  <a:cubicBezTo>
                    <a:pt x="0" y="876"/>
                    <a:pt x="32" y="1082"/>
                    <a:pt x="85" y="1268"/>
                  </a:cubicBezTo>
                  <a:lnTo>
                    <a:pt x="4178" y="1268"/>
                  </a:lnTo>
                  <a:cubicBezTo>
                    <a:pt x="4230" y="1082"/>
                    <a:pt x="4262" y="876"/>
                    <a:pt x="4262" y="643"/>
                  </a:cubicBezTo>
                  <a:cubicBezTo>
                    <a:pt x="4262" y="412"/>
                    <a:pt x="4231" y="198"/>
                    <a:pt x="4174" y="0"/>
                  </a:cubicBezTo>
                  <a:lnTo>
                    <a:pt x="89" y="0"/>
                  </a:lnTo>
                  <a:cubicBezTo>
                    <a:pt x="31" y="198"/>
                    <a:pt x="0" y="412"/>
                    <a:pt x="0" y="643"/>
                  </a:cubicBezTo>
                  <a:lnTo>
                    <a:pt x="0" y="643"/>
                  </a:lnTo>
                  <a:close/>
                </a:path>
              </a:pathLst>
            </a:custGeom>
            <a:solidFill>
              <a:srgbClr val="026778"/>
            </a:soli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26778"/>
                </a:solidFill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794335F9-3A06-4D2C-B9A2-A4E4CF612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9519" y="4583861"/>
              <a:ext cx="1429769" cy="714247"/>
            </a:xfrm>
            <a:custGeom>
              <a:avLst/>
              <a:gdLst>
                <a:gd name="T0" fmla="*/ 0 w 2640"/>
                <a:gd name="T1" fmla="*/ 0 h 1317"/>
                <a:gd name="T2" fmla="*/ 0 w 2640"/>
                <a:gd name="T3" fmla="*/ 0 h 1317"/>
                <a:gd name="T4" fmla="*/ 127 w 2640"/>
                <a:gd name="T5" fmla="*/ 630 h 1317"/>
                <a:gd name="T6" fmla="*/ 610 w 2640"/>
                <a:gd name="T7" fmla="*/ 1317 h 1317"/>
                <a:gd name="T8" fmla="*/ 2030 w 2640"/>
                <a:gd name="T9" fmla="*/ 1317 h 1317"/>
                <a:gd name="T10" fmla="*/ 2513 w 2640"/>
                <a:gd name="T11" fmla="*/ 630 h 1317"/>
                <a:gd name="T12" fmla="*/ 2640 w 2640"/>
                <a:gd name="T13" fmla="*/ 0 h 1317"/>
                <a:gd name="T14" fmla="*/ 0 w 2640"/>
                <a:gd name="T15" fmla="*/ 0 h 1317"/>
                <a:gd name="T16" fmla="*/ 0 w 2640"/>
                <a:gd name="T17" fmla="*/ 0 h 1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0" h="1317">
                  <a:moveTo>
                    <a:pt x="0" y="0"/>
                  </a:moveTo>
                  <a:lnTo>
                    <a:pt x="0" y="0"/>
                  </a:lnTo>
                  <a:cubicBezTo>
                    <a:pt x="77" y="190"/>
                    <a:pt x="127" y="394"/>
                    <a:pt x="127" y="630"/>
                  </a:cubicBezTo>
                  <a:cubicBezTo>
                    <a:pt x="127" y="857"/>
                    <a:pt x="340" y="1317"/>
                    <a:pt x="610" y="1317"/>
                  </a:cubicBezTo>
                  <a:lnTo>
                    <a:pt x="2030" y="1317"/>
                  </a:lnTo>
                  <a:cubicBezTo>
                    <a:pt x="2300" y="1317"/>
                    <a:pt x="2513" y="857"/>
                    <a:pt x="2513" y="630"/>
                  </a:cubicBezTo>
                  <a:cubicBezTo>
                    <a:pt x="2513" y="394"/>
                    <a:pt x="2563" y="190"/>
                    <a:pt x="2640" y="0"/>
                  </a:cubicBez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4">
              <a:extLst>
                <a:ext uri="{FF2B5EF4-FFF2-40B4-BE49-F238E27FC236}">
                  <a16:creationId xmlns:a16="http://schemas.microsoft.com/office/drawing/2014/main" id="{D0A513B4-5082-4BBD-A29E-D5DCE3A54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661" y="3842876"/>
              <a:ext cx="2184757" cy="687510"/>
            </a:xfrm>
            <a:custGeom>
              <a:avLst/>
              <a:gdLst>
                <a:gd name="T0" fmla="*/ 3379 w 4032"/>
                <a:gd name="T1" fmla="*/ 1267 h 1267"/>
                <a:gd name="T2" fmla="*/ 3379 w 4032"/>
                <a:gd name="T3" fmla="*/ 1267 h 1267"/>
                <a:gd name="T4" fmla="*/ 4032 w 4032"/>
                <a:gd name="T5" fmla="*/ 0 h 1267"/>
                <a:gd name="T6" fmla="*/ 0 w 4032"/>
                <a:gd name="T7" fmla="*/ 0 h 1267"/>
                <a:gd name="T8" fmla="*/ 653 w 4032"/>
                <a:gd name="T9" fmla="*/ 1267 h 1267"/>
                <a:gd name="T10" fmla="*/ 3379 w 4032"/>
                <a:gd name="T11" fmla="*/ 1267 h 1267"/>
                <a:gd name="T12" fmla="*/ 3379 w 4032"/>
                <a:gd name="T13" fmla="*/ 1267 h 1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32" h="1267">
                  <a:moveTo>
                    <a:pt x="3379" y="1267"/>
                  </a:moveTo>
                  <a:lnTo>
                    <a:pt x="3379" y="1267"/>
                  </a:lnTo>
                  <a:cubicBezTo>
                    <a:pt x="3568" y="854"/>
                    <a:pt x="3869" y="495"/>
                    <a:pt x="4032" y="0"/>
                  </a:cubicBezTo>
                  <a:lnTo>
                    <a:pt x="0" y="0"/>
                  </a:lnTo>
                  <a:cubicBezTo>
                    <a:pt x="163" y="495"/>
                    <a:pt x="464" y="854"/>
                    <a:pt x="653" y="1267"/>
                  </a:cubicBezTo>
                  <a:lnTo>
                    <a:pt x="3379" y="1267"/>
                  </a:lnTo>
                  <a:lnTo>
                    <a:pt x="3379" y="1267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74" name="Picture 73">
            <a:extLst>
              <a:ext uri="{FF2B5EF4-FFF2-40B4-BE49-F238E27FC236}">
                <a16:creationId xmlns:a16="http://schemas.microsoft.com/office/drawing/2014/main" id="{1FF148C7-4342-4A4D-BCD1-BCA2954AAEF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52336" y="3419134"/>
            <a:ext cx="2738466" cy="566070"/>
          </a:xfrm>
          <a:prstGeom prst="rect">
            <a:avLst/>
          </a:prstGeom>
        </p:spPr>
      </p:pic>
      <p:sp>
        <p:nvSpPr>
          <p:cNvPr id="75" name="Oval 74">
            <a:extLst>
              <a:ext uri="{FF2B5EF4-FFF2-40B4-BE49-F238E27FC236}">
                <a16:creationId xmlns:a16="http://schemas.microsoft.com/office/drawing/2014/main" id="{227531CB-FE0C-4F31-8610-D1C4F68835B6}"/>
              </a:ext>
            </a:extLst>
          </p:cNvPr>
          <p:cNvSpPr/>
          <p:nvPr/>
        </p:nvSpPr>
        <p:spPr>
          <a:xfrm>
            <a:off x="3691442" y="3408271"/>
            <a:ext cx="590472" cy="590472"/>
          </a:xfrm>
          <a:prstGeom prst="ellipse">
            <a:avLst/>
          </a:prstGeom>
          <a:solidFill>
            <a:srgbClr val="026778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76" name="Graphic 75">
            <a:extLst>
              <a:ext uri="{FF2B5EF4-FFF2-40B4-BE49-F238E27FC236}">
                <a16:creationId xmlns:a16="http://schemas.microsoft.com/office/drawing/2014/main" id="{7910DA81-496D-4EF0-BA85-C0F0FF480B6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854434" y="3551107"/>
            <a:ext cx="247650" cy="304800"/>
          </a:xfrm>
          <a:prstGeom prst="rect">
            <a:avLst/>
          </a:prstGeom>
        </p:spPr>
      </p:pic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9CDF07A-DA3B-4B35-BE9B-519A17C60B9E}"/>
              </a:ext>
            </a:extLst>
          </p:cNvPr>
          <p:cNvCxnSpPr/>
          <p:nvPr/>
        </p:nvCxnSpPr>
        <p:spPr>
          <a:xfrm>
            <a:off x="2828606" y="3772503"/>
            <a:ext cx="921708" cy="0"/>
          </a:xfrm>
          <a:prstGeom prst="line">
            <a:avLst/>
          </a:prstGeom>
          <a:ln w="28575">
            <a:solidFill>
              <a:srgbClr val="0267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32F9AA07-FB83-466E-AE0A-FC7EE841E845}"/>
              </a:ext>
            </a:extLst>
          </p:cNvPr>
          <p:cNvSpPr/>
          <p:nvPr/>
        </p:nvSpPr>
        <p:spPr>
          <a:xfrm>
            <a:off x="4315438" y="3550718"/>
            <a:ext cx="1969391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da-DK" sz="1400" b="1"/>
              <a:t>Finansiering</a:t>
            </a: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182363D9-D5E8-4B9A-A14F-D6D8B846B84A}"/>
              </a:ext>
            </a:extLst>
          </p:cNvPr>
          <p:cNvSpPr>
            <a:spLocks/>
          </p:cNvSpPr>
          <p:nvPr/>
        </p:nvSpPr>
        <p:spPr bwMode="auto">
          <a:xfrm>
            <a:off x="1111874" y="2332901"/>
            <a:ext cx="2179665" cy="714247"/>
          </a:xfrm>
          <a:custGeom>
            <a:avLst/>
            <a:gdLst>
              <a:gd name="T0" fmla="*/ 4021 w 4021"/>
              <a:gd name="T1" fmla="*/ 1317 h 1317"/>
              <a:gd name="T2" fmla="*/ 4021 w 4021"/>
              <a:gd name="T3" fmla="*/ 1317 h 1317"/>
              <a:gd name="T4" fmla="*/ 2010 w 4021"/>
              <a:gd name="T5" fmla="*/ 0 h 1317"/>
              <a:gd name="T6" fmla="*/ 0 w 4021"/>
              <a:gd name="T7" fmla="*/ 1317 h 1317"/>
              <a:gd name="T8" fmla="*/ 4021 w 4021"/>
              <a:gd name="T9" fmla="*/ 1317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21" h="1317">
                <a:moveTo>
                  <a:pt x="4021" y="1317"/>
                </a:moveTo>
                <a:lnTo>
                  <a:pt x="4021" y="1317"/>
                </a:lnTo>
                <a:cubicBezTo>
                  <a:pt x="3733" y="492"/>
                  <a:pt x="2960" y="0"/>
                  <a:pt x="2010" y="0"/>
                </a:cubicBezTo>
                <a:cubicBezTo>
                  <a:pt x="1060" y="0"/>
                  <a:pt x="287" y="492"/>
                  <a:pt x="0" y="1317"/>
                </a:cubicBezTo>
                <a:lnTo>
                  <a:pt x="4021" y="131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68742BDF-CF16-44A6-8E21-18437A834D81}"/>
              </a:ext>
            </a:extLst>
          </p:cNvPr>
          <p:cNvGrpSpPr/>
          <p:nvPr/>
        </p:nvGrpSpPr>
        <p:grpSpPr>
          <a:xfrm>
            <a:off x="6780802" y="2399836"/>
            <a:ext cx="5052398" cy="2539775"/>
            <a:chOff x="6780802" y="2399836"/>
            <a:chExt cx="5052398" cy="2539775"/>
          </a:xfrm>
        </p:grpSpPr>
        <p:sp>
          <p:nvSpPr>
            <p:cNvPr id="82" name="Rounded Rectangle 41">
              <a:extLst>
                <a:ext uri="{FF2B5EF4-FFF2-40B4-BE49-F238E27FC236}">
                  <a16:creationId xmlns:a16="http://schemas.microsoft.com/office/drawing/2014/main" id="{FCE1DF25-D6D7-46AA-91E9-EA00134FC21A}"/>
                </a:ext>
              </a:extLst>
            </p:cNvPr>
            <p:cNvSpPr/>
            <p:nvPr/>
          </p:nvSpPr>
          <p:spPr>
            <a:xfrm>
              <a:off x="8576715" y="3387615"/>
              <a:ext cx="1440000" cy="1440000"/>
            </a:xfrm>
            <a:prstGeom prst="roundRect">
              <a:avLst/>
            </a:prstGeom>
            <a:solidFill>
              <a:srgbClr val="00B0A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ounded Rectangle 42">
              <a:extLst>
                <a:ext uri="{FF2B5EF4-FFF2-40B4-BE49-F238E27FC236}">
                  <a16:creationId xmlns:a16="http://schemas.microsoft.com/office/drawing/2014/main" id="{DB6B5BB5-9377-41C5-BC3A-2221791707FA}"/>
                </a:ext>
              </a:extLst>
            </p:cNvPr>
            <p:cNvSpPr/>
            <p:nvPr/>
          </p:nvSpPr>
          <p:spPr>
            <a:xfrm>
              <a:off x="8576715" y="2893726"/>
              <a:ext cx="1440000" cy="1440000"/>
            </a:xfrm>
            <a:prstGeom prst="roundRect">
              <a:avLst/>
            </a:prstGeom>
            <a:solidFill>
              <a:srgbClr val="02677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ounded Rectangle 43">
              <a:extLst>
                <a:ext uri="{FF2B5EF4-FFF2-40B4-BE49-F238E27FC236}">
                  <a16:creationId xmlns:a16="http://schemas.microsoft.com/office/drawing/2014/main" id="{E75F7FE5-A521-4069-B5B4-067137143D8C}"/>
                </a:ext>
              </a:extLst>
            </p:cNvPr>
            <p:cNvSpPr/>
            <p:nvPr/>
          </p:nvSpPr>
          <p:spPr>
            <a:xfrm>
              <a:off x="8576715" y="2399836"/>
              <a:ext cx="1440000" cy="1440000"/>
            </a:xfrm>
            <a:prstGeom prst="roundRect">
              <a:avLst/>
            </a:prstGeom>
            <a:solidFill>
              <a:srgbClr val="1D376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6A87370F-E491-446C-870B-0780D19C4C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6255" y="3775599"/>
              <a:ext cx="590460" cy="0"/>
            </a:xfrm>
            <a:prstGeom prst="line">
              <a:avLst/>
            </a:prstGeom>
            <a:ln w="28575" cmpd="sng">
              <a:solidFill>
                <a:srgbClr val="02677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CE2384BA-F530-454A-B39F-402B8A8D067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016715" y="4310994"/>
              <a:ext cx="573494" cy="0"/>
            </a:xfrm>
            <a:prstGeom prst="line">
              <a:avLst/>
            </a:prstGeom>
            <a:ln w="28575" cmpd="sng">
              <a:solidFill>
                <a:srgbClr val="00B0A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Oval 12">
              <a:extLst>
                <a:ext uri="{FF2B5EF4-FFF2-40B4-BE49-F238E27FC236}">
                  <a16:creationId xmlns:a16="http://schemas.microsoft.com/office/drawing/2014/main" id="{CF17376F-57F9-4AFC-A225-8EEE3D4C7A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1975" y="3929050"/>
              <a:ext cx="720000" cy="720000"/>
            </a:xfrm>
            <a:prstGeom prst="ellipse">
              <a:avLst/>
            </a:prstGeom>
            <a:solidFill>
              <a:srgbClr val="00B0A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Oval 12">
              <a:extLst>
                <a:ext uri="{FF2B5EF4-FFF2-40B4-BE49-F238E27FC236}">
                  <a16:creationId xmlns:a16="http://schemas.microsoft.com/office/drawing/2014/main" id="{3B5247E3-D368-4609-926C-533917F0B2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9229" y="3393650"/>
              <a:ext cx="720000" cy="720000"/>
            </a:xfrm>
            <a:prstGeom prst="ellipse">
              <a:avLst/>
            </a:prstGeom>
            <a:solidFill>
              <a:srgbClr val="02677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2CFC6044-B537-4329-A9E5-FC763C950253}"/>
                </a:ext>
              </a:extLst>
            </p:cNvPr>
            <p:cNvSpPr/>
            <p:nvPr/>
          </p:nvSpPr>
          <p:spPr>
            <a:xfrm>
              <a:off x="9896347" y="4682618"/>
              <a:ext cx="1936853" cy="256993"/>
            </a:xfrm>
            <a:prstGeom prst="rect">
              <a:avLst/>
            </a:prstGeom>
          </p:spPr>
          <p:txBody>
            <a:bodyPr wrap="square" lIns="182880" rIns="182880" bIns="73152">
              <a:spAutoFit/>
            </a:bodyPr>
            <a:lstStyle/>
            <a:p>
              <a:pPr algn="ctr">
                <a:lnSpc>
                  <a:spcPct val="89000"/>
                </a:lnSpc>
              </a:pPr>
              <a:r>
                <a:rPr lang="da-DK" sz="1000" b="1">
                  <a:latin typeface="Verdana" panose="020B0604030504040204" pitchFamily="34" charset="0"/>
                  <a:ea typeface="Verdana" panose="020B0604030504040204" pitchFamily="34" charset="0"/>
                </a:rPr>
                <a:t>Konsekvenser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ED97D200-CC0B-4E31-95DC-092A55D36320}"/>
                </a:ext>
              </a:extLst>
            </p:cNvPr>
            <p:cNvSpPr/>
            <p:nvPr/>
          </p:nvSpPr>
          <p:spPr>
            <a:xfrm>
              <a:off x="6780802" y="4152806"/>
              <a:ext cx="1936853" cy="256993"/>
            </a:xfrm>
            <a:prstGeom prst="rect">
              <a:avLst/>
            </a:prstGeom>
          </p:spPr>
          <p:txBody>
            <a:bodyPr wrap="square" lIns="182880" rIns="182880" bIns="73152">
              <a:spAutoFit/>
            </a:bodyPr>
            <a:lstStyle/>
            <a:p>
              <a:pPr algn="ctr">
                <a:lnSpc>
                  <a:spcPct val="89000"/>
                </a:lnSpc>
              </a:pPr>
              <a:r>
                <a:rPr lang="da-DK" sz="1000" b="1">
                  <a:latin typeface="Verdana" panose="020B0604030504040204" pitchFamily="34" charset="0"/>
                  <a:ea typeface="Verdana" panose="020B0604030504040204" pitchFamily="34" charset="0"/>
                </a:rPr>
                <a:t>Erfaringer</a:t>
              </a:r>
            </a:p>
          </p:txBody>
        </p:sp>
        <p:pic>
          <p:nvPicPr>
            <p:cNvPr id="91" name="Graphic 90" descr="Meeting outline">
              <a:extLst>
                <a:ext uri="{FF2B5EF4-FFF2-40B4-BE49-F238E27FC236}">
                  <a16:creationId xmlns:a16="http://schemas.microsoft.com/office/drawing/2014/main" id="{AE7D4C71-BDB2-4A73-B72A-7CCC2C3A3D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468202" y="3469610"/>
              <a:ext cx="540000" cy="540000"/>
            </a:xfrm>
            <a:prstGeom prst="rect">
              <a:avLst/>
            </a:prstGeom>
          </p:spPr>
        </p:pic>
        <p:pic>
          <p:nvPicPr>
            <p:cNvPr id="92" name="Graphic 91" descr="Downward trend graph outline">
              <a:extLst>
                <a:ext uri="{FF2B5EF4-FFF2-40B4-BE49-F238E27FC236}">
                  <a16:creationId xmlns:a16="http://schemas.microsoft.com/office/drawing/2014/main" id="{8A00056B-AB4F-4AE7-A8D0-14860476AC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0571975" y="4020744"/>
              <a:ext cx="540000" cy="540000"/>
            </a:xfrm>
            <a:prstGeom prst="rect">
              <a:avLst/>
            </a:prstGeom>
          </p:spPr>
        </p:pic>
        <p:pic>
          <p:nvPicPr>
            <p:cNvPr id="93" name="Graphic 92">
              <a:extLst>
                <a:ext uri="{FF2B5EF4-FFF2-40B4-BE49-F238E27FC236}">
                  <a16:creationId xmlns:a16="http://schemas.microsoft.com/office/drawing/2014/main" id="{88CA7583-4D12-4B61-AD63-D737B12F71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 rot="2220939">
              <a:off x="9053669" y="2746923"/>
              <a:ext cx="466597" cy="7858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68371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B7E7B85B-CF63-4473-B930-1A73495DE9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0" imgH="393" progId="TCLayout.ActiveDocument.1">
                  <p:embed/>
                </p:oleObj>
              </mc:Choice>
              <mc:Fallback>
                <p:oleObj name="think-cell Slide" r:id="rId4" imgW="400" imgH="393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B7E7B85B-CF63-4473-B930-1A73495DE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0A07BD-E120-437B-BE84-4B44385DC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B854C339-1E7E-42C9-A1E2-868ABD64E2A5}"/>
              </a:ext>
            </a:extLst>
          </p:cNvPr>
          <p:cNvSpPr txBox="1">
            <a:spLocks/>
          </p:cNvSpPr>
          <p:nvPr/>
        </p:nvSpPr>
        <p:spPr>
          <a:xfrm>
            <a:off x="358775" y="39103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Offentlige statsstøtteregler har betydning for, </a:t>
            </a:r>
            <a:br>
              <a:rPr lang="da-DK" dirty="0"/>
            </a:br>
            <a:r>
              <a:rPr lang="da-DK" dirty="0"/>
              <a:t>om TDU-faciliteternes udbydes til virksomheder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226A0794-192A-46A4-A37B-0913B23B09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41083" y="4160971"/>
            <a:ext cx="2738466" cy="56607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232B2B9-E3DC-40F4-9742-0912FB78D765}"/>
              </a:ext>
            </a:extLst>
          </p:cNvPr>
          <p:cNvSpPr/>
          <p:nvPr/>
        </p:nvSpPr>
        <p:spPr>
          <a:xfrm>
            <a:off x="4311623" y="4300857"/>
            <a:ext cx="1969391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da-DK" sz="1400" b="1"/>
              <a:t>Lovgivning</a:t>
            </a:r>
          </a:p>
        </p:txBody>
      </p:sp>
      <p:sp>
        <p:nvSpPr>
          <p:cNvPr id="9" name="Freeform 7">
            <a:extLst>
              <a:ext uri="{FF2B5EF4-FFF2-40B4-BE49-F238E27FC236}">
                <a16:creationId xmlns:a16="http://schemas.microsoft.com/office/drawing/2014/main" id="{182363D9-D5E8-4B9A-A14F-D6D8B846B84A}"/>
              </a:ext>
            </a:extLst>
          </p:cNvPr>
          <p:cNvSpPr>
            <a:spLocks/>
          </p:cNvSpPr>
          <p:nvPr/>
        </p:nvSpPr>
        <p:spPr bwMode="auto">
          <a:xfrm>
            <a:off x="1095207" y="2332901"/>
            <a:ext cx="2179665" cy="714247"/>
          </a:xfrm>
          <a:custGeom>
            <a:avLst/>
            <a:gdLst>
              <a:gd name="T0" fmla="*/ 4021 w 4021"/>
              <a:gd name="T1" fmla="*/ 1317 h 1317"/>
              <a:gd name="T2" fmla="*/ 4021 w 4021"/>
              <a:gd name="T3" fmla="*/ 1317 h 1317"/>
              <a:gd name="T4" fmla="*/ 2010 w 4021"/>
              <a:gd name="T5" fmla="*/ 0 h 1317"/>
              <a:gd name="T6" fmla="*/ 0 w 4021"/>
              <a:gd name="T7" fmla="*/ 1317 h 1317"/>
              <a:gd name="T8" fmla="*/ 4021 w 4021"/>
              <a:gd name="T9" fmla="*/ 1317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21" h="1317">
                <a:moveTo>
                  <a:pt x="4021" y="1317"/>
                </a:moveTo>
                <a:lnTo>
                  <a:pt x="4021" y="1317"/>
                </a:lnTo>
                <a:cubicBezTo>
                  <a:pt x="3733" y="492"/>
                  <a:pt x="2960" y="0"/>
                  <a:pt x="2010" y="0"/>
                </a:cubicBezTo>
                <a:cubicBezTo>
                  <a:pt x="1060" y="0"/>
                  <a:pt x="287" y="492"/>
                  <a:pt x="0" y="1317"/>
                </a:cubicBezTo>
                <a:lnTo>
                  <a:pt x="4021" y="131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6">
            <a:extLst>
              <a:ext uri="{FF2B5EF4-FFF2-40B4-BE49-F238E27FC236}">
                <a16:creationId xmlns:a16="http://schemas.microsoft.com/office/drawing/2014/main" id="{41250281-1D7A-42DF-8500-222DEBCE7657}"/>
              </a:ext>
            </a:extLst>
          </p:cNvPr>
          <p:cNvSpPr>
            <a:spLocks/>
          </p:cNvSpPr>
          <p:nvPr/>
        </p:nvSpPr>
        <p:spPr bwMode="auto">
          <a:xfrm>
            <a:off x="1732429" y="5355400"/>
            <a:ext cx="962516" cy="788861"/>
          </a:xfrm>
          <a:custGeom>
            <a:avLst/>
            <a:gdLst>
              <a:gd name="T0" fmla="*/ 1775 w 1775"/>
              <a:gd name="T1" fmla="*/ 272 h 1788"/>
              <a:gd name="T2" fmla="*/ 1775 w 1775"/>
              <a:gd name="T3" fmla="*/ 272 h 1788"/>
              <a:gd name="T4" fmla="*/ 1775 w 1775"/>
              <a:gd name="T5" fmla="*/ 53 h 1788"/>
              <a:gd name="T6" fmla="*/ 1723 w 1775"/>
              <a:gd name="T7" fmla="*/ 0 h 1788"/>
              <a:gd name="T8" fmla="*/ 52 w 1775"/>
              <a:gd name="T9" fmla="*/ 0 h 1788"/>
              <a:gd name="T10" fmla="*/ 0 w 1775"/>
              <a:gd name="T11" fmla="*/ 53 h 1788"/>
              <a:gd name="T12" fmla="*/ 0 w 1775"/>
              <a:gd name="T13" fmla="*/ 342 h 1788"/>
              <a:gd name="T14" fmla="*/ 80 w 1775"/>
              <a:gd name="T15" fmla="*/ 466 h 1788"/>
              <a:gd name="T16" fmla="*/ 0 w 1775"/>
              <a:gd name="T17" fmla="*/ 584 h 1788"/>
              <a:gd name="T18" fmla="*/ 80 w 1775"/>
              <a:gd name="T19" fmla="*/ 711 h 1788"/>
              <a:gd name="T20" fmla="*/ 0 w 1775"/>
              <a:gd name="T21" fmla="*/ 822 h 1788"/>
              <a:gd name="T22" fmla="*/ 80 w 1775"/>
              <a:gd name="T23" fmla="*/ 964 h 1788"/>
              <a:gd name="T24" fmla="*/ 0 w 1775"/>
              <a:gd name="T25" fmla="*/ 1076 h 1788"/>
              <a:gd name="T26" fmla="*/ 80 w 1775"/>
              <a:gd name="T27" fmla="*/ 1209 h 1788"/>
              <a:gd name="T28" fmla="*/ 80 w 1775"/>
              <a:gd name="T29" fmla="*/ 1303 h 1788"/>
              <a:gd name="T30" fmla="*/ 581 w 1775"/>
              <a:gd name="T31" fmla="*/ 1745 h 1788"/>
              <a:gd name="T32" fmla="*/ 693 w 1775"/>
              <a:gd name="T33" fmla="*/ 1788 h 1788"/>
              <a:gd name="T34" fmla="*/ 1086 w 1775"/>
              <a:gd name="T35" fmla="*/ 1788 h 1788"/>
              <a:gd name="T36" fmla="*/ 1198 w 1775"/>
              <a:gd name="T37" fmla="*/ 1745 h 1788"/>
              <a:gd name="T38" fmla="*/ 1695 w 1775"/>
              <a:gd name="T39" fmla="*/ 1303 h 1788"/>
              <a:gd name="T40" fmla="*/ 1695 w 1775"/>
              <a:gd name="T41" fmla="*/ 1139 h 1788"/>
              <a:gd name="T42" fmla="*/ 1775 w 1775"/>
              <a:gd name="T43" fmla="*/ 1005 h 1788"/>
              <a:gd name="T44" fmla="*/ 1695 w 1775"/>
              <a:gd name="T45" fmla="*/ 894 h 1788"/>
              <a:gd name="T46" fmla="*/ 1775 w 1775"/>
              <a:gd name="T47" fmla="*/ 752 h 1788"/>
              <a:gd name="T48" fmla="*/ 1695 w 1775"/>
              <a:gd name="T49" fmla="*/ 641 h 1788"/>
              <a:gd name="T50" fmla="*/ 1775 w 1775"/>
              <a:gd name="T51" fmla="*/ 514 h 1788"/>
              <a:gd name="T52" fmla="*/ 1695 w 1775"/>
              <a:gd name="T53" fmla="*/ 396 h 1788"/>
              <a:gd name="T54" fmla="*/ 1775 w 1775"/>
              <a:gd name="T55" fmla="*/ 272 h 1788"/>
              <a:gd name="T56" fmla="*/ 1775 w 1775"/>
              <a:gd name="T57" fmla="*/ 272 h 1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775" h="1788">
                <a:moveTo>
                  <a:pt x="1775" y="272"/>
                </a:moveTo>
                <a:lnTo>
                  <a:pt x="1775" y="272"/>
                </a:lnTo>
                <a:lnTo>
                  <a:pt x="1775" y="53"/>
                </a:lnTo>
                <a:cubicBezTo>
                  <a:pt x="1775" y="24"/>
                  <a:pt x="1752" y="0"/>
                  <a:pt x="1723" y="0"/>
                </a:cubicBezTo>
                <a:lnTo>
                  <a:pt x="52" y="0"/>
                </a:lnTo>
                <a:cubicBezTo>
                  <a:pt x="23" y="0"/>
                  <a:pt x="0" y="24"/>
                  <a:pt x="0" y="53"/>
                </a:cubicBezTo>
                <a:lnTo>
                  <a:pt x="0" y="342"/>
                </a:lnTo>
                <a:cubicBezTo>
                  <a:pt x="0" y="386"/>
                  <a:pt x="80" y="409"/>
                  <a:pt x="80" y="466"/>
                </a:cubicBezTo>
                <a:cubicBezTo>
                  <a:pt x="80" y="523"/>
                  <a:pt x="0" y="523"/>
                  <a:pt x="0" y="584"/>
                </a:cubicBezTo>
                <a:cubicBezTo>
                  <a:pt x="0" y="645"/>
                  <a:pt x="80" y="639"/>
                  <a:pt x="80" y="711"/>
                </a:cubicBezTo>
                <a:cubicBezTo>
                  <a:pt x="80" y="783"/>
                  <a:pt x="0" y="757"/>
                  <a:pt x="0" y="822"/>
                </a:cubicBezTo>
                <a:cubicBezTo>
                  <a:pt x="0" y="888"/>
                  <a:pt x="80" y="892"/>
                  <a:pt x="80" y="964"/>
                </a:cubicBezTo>
                <a:cubicBezTo>
                  <a:pt x="80" y="1036"/>
                  <a:pt x="0" y="1012"/>
                  <a:pt x="0" y="1076"/>
                </a:cubicBezTo>
                <a:cubicBezTo>
                  <a:pt x="0" y="1139"/>
                  <a:pt x="80" y="1141"/>
                  <a:pt x="80" y="1209"/>
                </a:cubicBezTo>
                <a:lnTo>
                  <a:pt x="80" y="1303"/>
                </a:lnTo>
                <a:lnTo>
                  <a:pt x="581" y="1745"/>
                </a:lnTo>
                <a:cubicBezTo>
                  <a:pt x="612" y="1773"/>
                  <a:pt x="651" y="1788"/>
                  <a:pt x="693" y="1788"/>
                </a:cubicBezTo>
                <a:lnTo>
                  <a:pt x="1086" y="1788"/>
                </a:lnTo>
                <a:cubicBezTo>
                  <a:pt x="1127" y="1788"/>
                  <a:pt x="1167" y="1773"/>
                  <a:pt x="1198" y="1745"/>
                </a:cubicBezTo>
                <a:lnTo>
                  <a:pt x="1695" y="1303"/>
                </a:lnTo>
                <a:lnTo>
                  <a:pt x="1695" y="1139"/>
                </a:lnTo>
                <a:cubicBezTo>
                  <a:pt x="1695" y="1071"/>
                  <a:pt x="1775" y="1069"/>
                  <a:pt x="1775" y="1005"/>
                </a:cubicBezTo>
                <a:cubicBezTo>
                  <a:pt x="1775" y="942"/>
                  <a:pt x="1695" y="966"/>
                  <a:pt x="1695" y="894"/>
                </a:cubicBezTo>
                <a:cubicBezTo>
                  <a:pt x="1695" y="822"/>
                  <a:pt x="1775" y="818"/>
                  <a:pt x="1775" y="752"/>
                </a:cubicBezTo>
                <a:cubicBezTo>
                  <a:pt x="1775" y="687"/>
                  <a:pt x="1695" y="713"/>
                  <a:pt x="1695" y="641"/>
                </a:cubicBezTo>
                <a:cubicBezTo>
                  <a:pt x="1695" y="569"/>
                  <a:pt x="1775" y="575"/>
                  <a:pt x="1775" y="514"/>
                </a:cubicBezTo>
                <a:cubicBezTo>
                  <a:pt x="1775" y="453"/>
                  <a:pt x="1695" y="453"/>
                  <a:pt x="1695" y="396"/>
                </a:cubicBezTo>
                <a:cubicBezTo>
                  <a:pt x="1695" y="339"/>
                  <a:pt x="1775" y="315"/>
                  <a:pt x="1775" y="272"/>
                </a:cubicBezTo>
                <a:lnTo>
                  <a:pt x="1775" y="272"/>
                </a:lnTo>
                <a:close/>
              </a:path>
            </a:pathLst>
          </a:custGeom>
          <a:solidFill>
            <a:srgbClr val="7F7F7F">
              <a:alpha val="50196"/>
            </a:srgbClr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F6B53F6-0AEF-4B66-81A6-1AACA47FE836}"/>
              </a:ext>
            </a:extLst>
          </p:cNvPr>
          <p:cNvCxnSpPr>
            <a:cxnSpLocks/>
          </p:cNvCxnSpPr>
          <p:nvPr/>
        </p:nvCxnSpPr>
        <p:spPr>
          <a:xfrm>
            <a:off x="2817353" y="4513813"/>
            <a:ext cx="828532" cy="0"/>
          </a:xfrm>
          <a:prstGeom prst="line">
            <a:avLst/>
          </a:prstGeom>
          <a:ln w="28575">
            <a:solidFill>
              <a:srgbClr val="ADDDF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733D2C9-AB30-4702-A71A-2DE9A28F4A8F}"/>
              </a:ext>
            </a:extLst>
          </p:cNvPr>
          <p:cNvCxnSpPr>
            <a:cxnSpLocks/>
          </p:cNvCxnSpPr>
          <p:nvPr/>
        </p:nvCxnSpPr>
        <p:spPr>
          <a:xfrm>
            <a:off x="2273973" y="5283752"/>
            <a:ext cx="1371912" cy="0"/>
          </a:xfrm>
          <a:prstGeom prst="line">
            <a:avLst/>
          </a:prstGeom>
          <a:ln w="28575">
            <a:solidFill>
              <a:srgbClr val="ADDDF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43">
            <a:extLst>
              <a:ext uri="{FF2B5EF4-FFF2-40B4-BE49-F238E27FC236}">
                <a16:creationId xmlns:a16="http://schemas.microsoft.com/office/drawing/2014/main" id="{AC786470-5B6B-48F7-8506-8778323352B3}"/>
              </a:ext>
            </a:extLst>
          </p:cNvPr>
          <p:cNvSpPr/>
          <p:nvPr/>
        </p:nvSpPr>
        <p:spPr>
          <a:xfrm>
            <a:off x="3680189" y="2658916"/>
            <a:ext cx="590472" cy="590472"/>
          </a:xfrm>
          <a:prstGeom prst="ellipse">
            <a:avLst/>
          </a:prstGeom>
          <a:solidFill>
            <a:schemeClr val="tx2">
              <a:alpha val="2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Freeform 6">
            <a:extLst>
              <a:ext uri="{FF2B5EF4-FFF2-40B4-BE49-F238E27FC236}">
                <a16:creationId xmlns:a16="http://schemas.microsoft.com/office/drawing/2014/main" id="{1F286A79-EDFD-45D6-A3C4-02E667C6E1BD}"/>
              </a:ext>
            </a:extLst>
          </p:cNvPr>
          <p:cNvSpPr>
            <a:spLocks/>
          </p:cNvSpPr>
          <p:nvPr/>
        </p:nvSpPr>
        <p:spPr bwMode="auto">
          <a:xfrm>
            <a:off x="1723667" y="5355400"/>
            <a:ext cx="962516" cy="788861"/>
          </a:xfrm>
          <a:custGeom>
            <a:avLst/>
            <a:gdLst>
              <a:gd name="T0" fmla="*/ 1775 w 1775"/>
              <a:gd name="T1" fmla="*/ 272 h 1788"/>
              <a:gd name="T2" fmla="*/ 1775 w 1775"/>
              <a:gd name="T3" fmla="*/ 272 h 1788"/>
              <a:gd name="T4" fmla="*/ 1775 w 1775"/>
              <a:gd name="T5" fmla="*/ 53 h 1788"/>
              <a:gd name="T6" fmla="*/ 1723 w 1775"/>
              <a:gd name="T7" fmla="*/ 0 h 1788"/>
              <a:gd name="T8" fmla="*/ 52 w 1775"/>
              <a:gd name="T9" fmla="*/ 0 h 1788"/>
              <a:gd name="T10" fmla="*/ 0 w 1775"/>
              <a:gd name="T11" fmla="*/ 53 h 1788"/>
              <a:gd name="T12" fmla="*/ 0 w 1775"/>
              <a:gd name="T13" fmla="*/ 342 h 1788"/>
              <a:gd name="T14" fmla="*/ 80 w 1775"/>
              <a:gd name="T15" fmla="*/ 466 h 1788"/>
              <a:gd name="T16" fmla="*/ 0 w 1775"/>
              <a:gd name="T17" fmla="*/ 584 h 1788"/>
              <a:gd name="T18" fmla="*/ 80 w 1775"/>
              <a:gd name="T19" fmla="*/ 711 h 1788"/>
              <a:gd name="T20" fmla="*/ 0 w 1775"/>
              <a:gd name="T21" fmla="*/ 822 h 1788"/>
              <a:gd name="T22" fmla="*/ 80 w 1775"/>
              <a:gd name="T23" fmla="*/ 964 h 1788"/>
              <a:gd name="T24" fmla="*/ 0 w 1775"/>
              <a:gd name="T25" fmla="*/ 1076 h 1788"/>
              <a:gd name="T26" fmla="*/ 80 w 1775"/>
              <a:gd name="T27" fmla="*/ 1209 h 1788"/>
              <a:gd name="T28" fmla="*/ 80 w 1775"/>
              <a:gd name="T29" fmla="*/ 1303 h 1788"/>
              <a:gd name="T30" fmla="*/ 581 w 1775"/>
              <a:gd name="T31" fmla="*/ 1745 h 1788"/>
              <a:gd name="T32" fmla="*/ 693 w 1775"/>
              <a:gd name="T33" fmla="*/ 1788 h 1788"/>
              <a:gd name="T34" fmla="*/ 1086 w 1775"/>
              <a:gd name="T35" fmla="*/ 1788 h 1788"/>
              <a:gd name="T36" fmla="*/ 1198 w 1775"/>
              <a:gd name="T37" fmla="*/ 1745 h 1788"/>
              <a:gd name="T38" fmla="*/ 1695 w 1775"/>
              <a:gd name="T39" fmla="*/ 1303 h 1788"/>
              <a:gd name="T40" fmla="*/ 1695 w 1775"/>
              <a:gd name="T41" fmla="*/ 1139 h 1788"/>
              <a:gd name="T42" fmla="*/ 1775 w 1775"/>
              <a:gd name="T43" fmla="*/ 1005 h 1788"/>
              <a:gd name="T44" fmla="*/ 1695 w 1775"/>
              <a:gd name="T45" fmla="*/ 894 h 1788"/>
              <a:gd name="T46" fmla="*/ 1775 w 1775"/>
              <a:gd name="T47" fmla="*/ 752 h 1788"/>
              <a:gd name="T48" fmla="*/ 1695 w 1775"/>
              <a:gd name="T49" fmla="*/ 641 h 1788"/>
              <a:gd name="T50" fmla="*/ 1775 w 1775"/>
              <a:gd name="T51" fmla="*/ 514 h 1788"/>
              <a:gd name="T52" fmla="*/ 1695 w 1775"/>
              <a:gd name="T53" fmla="*/ 396 h 1788"/>
              <a:gd name="T54" fmla="*/ 1775 w 1775"/>
              <a:gd name="T55" fmla="*/ 272 h 1788"/>
              <a:gd name="T56" fmla="*/ 1775 w 1775"/>
              <a:gd name="T57" fmla="*/ 272 h 1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775" h="1788">
                <a:moveTo>
                  <a:pt x="1775" y="272"/>
                </a:moveTo>
                <a:lnTo>
                  <a:pt x="1775" y="272"/>
                </a:lnTo>
                <a:lnTo>
                  <a:pt x="1775" y="53"/>
                </a:lnTo>
                <a:cubicBezTo>
                  <a:pt x="1775" y="24"/>
                  <a:pt x="1752" y="0"/>
                  <a:pt x="1723" y="0"/>
                </a:cubicBezTo>
                <a:lnTo>
                  <a:pt x="52" y="0"/>
                </a:lnTo>
                <a:cubicBezTo>
                  <a:pt x="23" y="0"/>
                  <a:pt x="0" y="24"/>
                  <a:pt x="0" y="53"/>
                </a:cubicBezTo>
                <a:lnTo>
                  <a:pt x="0" y="342"/>
                </a:lnTo>
                <a:cubicBezTo>
                  <a:pt x="0" y="386"/>
                  <a:pt x="80" y="409"/>
                  <a:pt x="80" y="466"/>
                </a:cubicBezTo>
                <a:cubicBezTo>
                  <a:pt x="80" y="523"/>
                  <a:pt x="0" y="523"/>
                  <a:pt x="0" y="584"/>
                </a:cubicBezTo>
                <a:cubicBezTo>
                  <a:pt x="0" y="645"/>
                  <a:pt x="80" y="639"/>
                  <a:pt x="80" y="711"/>
                </a:cubicBezTo>
                <a:cubicBezTo>
                  <a:pt x="80" y="783"/>
                  <a:pt x="0" y="757"/>
                  <a:pt x="0" y="822"/>
                </a:cubicBezTo>
                <a:cubicBezTo>
                  <a:pt x="0" y="888"/>
                  <a:pt x="80" y="892"/>
                  <a:pt x="80" y="964"/>
                </a:cubicBezTo>
                <a:cubicBezTo>
                  <a:pt x="80" y="1036"/>
                  <a:pt x="0" y="1012"/>
                  <a:pt x="0" y="1076"/>
                </a:cubicBezTo>
                <a:cubicBezTo>
                  <a:pt x="0" y="1139"/>
                  <a:pt x="80" y="1141"/>
                  <a:pt x="80" y="1209"/>
                </a:cubicBezTo>
                <a:lnTo>
                  <a:pt x="80" y="1303"/>
                </a:lnTo>
                <a:lnTo>
                  <a:pt x="581" y="1745"/>
                </a:lnTo>
                <a:cubicBezTo>
                  <a:pt x="612" y="1773"/>
                  <a:pt x="651" y="1788"/>
                  <a:pt x="693" y="1788"/>
                </a:cubicBezTo>
                <a:lnTo>
                  <a:pt x="1086" y="1788"/>
                </a:lnTo>
                <a:cubicBezTo>
                  <a:pt x="1127" y="1788"/>
                  <a:pt x="1167" y="1773"/>
                  <a:pt x="1198" y="1745"/>
                </a:cubicBezTo>
                <a:lnTo>
                  <a:pt x="1695" y="1303"/>
                </a:lnTo>
                <a:lnTo>
                  <a:pt x="1695" y="1139"/>
                </a:lnTo>
                <a:cubicBezTo>
                  <a:pt x="1695" y="1071"/>
                  <a:pt x="1775" y="1069"/>
                  <a:pt x="1775" y="1005"/>
                </a:cubicBezTo>
                <a:cubicBezTo>
                  <a:pt x="1775" y="942"/>
                  <a:pt x="1695" y="966"/>
                  <a:pt x="1695" y="894"/>
                </a:cubicBezTo>
                <a:cubicBezTo>
                  <a:pt x="1695" y="822"/>
                  <a:pt x="1775" y="818"/>
                  <a:pt x="1775" y="752"/>
                </a:cubicBezTo>
                <a:cubicBezTo>
                  <a:pt x="1775" y="687"/>
                  <a:pt x="1695" y="713"/>
                  <a:pt x="1695" y="641"/>
                </a:cubicBezTo>
                <a:cubicBezTo>
                  <a:pt x="1695" y="569"/>
                  <a:pt x="1775" y="575"/>
                  <a:pt x="1775" y="514"/>
                </a:cubicBezTo>
                <a:cubicBezTo>
                  <a:pt x="1775" y="453"/>
                  <a:pt x="1695" y="453"/>
                  <a:pt x="1695" y="396"/>
                </a:cubicBezTo>
                <a:cubicBezTo>
                  <a:pt x="1695" y="339"/>
                  <a:pt x="1775" y="315"/>
                  <a:pt x="1775" y="272"/>
                </a:cubicBezTo>
                <a:lnTo>
                  <a:pt x="1775" y="272"/>
                </a:lnTo>
                <a:close/>
              </a:path>
            </a:pathLst>
          </a:custGeom>
          <a:solidFill>
            <a:srgbClr val="B8B5B6"/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DEACA95-2874-4884-9556-3613F4A21E82}"/>
              </a:ext>
            </a:extLst>
          </p:cNvPr>
          <p:cNvCxnSpPr>
            <a:cxnSpLocks/>
          </p:cNvCxnSpPr>
          <p:nvPr/>
        </p:nvCxnSpPr>
        <p:spPr>
          <a:xfrm>
            <a:off x="2817353" y="3029500"/>
            <a:ext cx="828532" cy="0"/>
          </a:xfrm>
          <a:prstGeom prst="line">
            <a:avLst/>
          </a:prstGeom>
          <a:ln w="28575">
            <a:solidFill>
              <a:srgbClr val="ADDDF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8335AD80-5CFA-4439-A1FA-55DDEC54F986}"/>
              </a:ext>
            </a:extLst>
          </p:cNvPr>
          <p:cNvSpPr/>
          <p:nvPr/>
        </p:nvSpPr>
        <p:spPr>
          <a:xfrm>
            <a:off x="3680189" y="4148770"/>
            <a:ext cx="590472" cy="590472"/>
          </a:xfrm>
          <a:prstGeom prst="ellipse">
            <a:avLst/>
          </a:prstGeom>
          <a:solidFill>
            <a:srgbClr val="00B0A8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3E769991-B32A-4D1E-AAA7-C2C1100E7B65}"/>
              </a:ext>
            </a:extLst>
          </p:cNvPr>
          <p:cNvSpPr/>
          <p:nvPr/>
        </p:nvSpPr>
        <p:spPr>
          <a:xfrm>
            <a:off x="3680189" y="4904827"/>
            <a:ext cx="590472" cy="590472"/>
          </a:xfrm>
          <a:prstGeom prst="ellipse">
            <a:avLst/>
          </a:prstGeom>
          <a:solidFill>
            <a:srgbClr val="009DF0">
              <a:alpha val="20000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C5E4C6A6-F6F7-41C5-83A4-D36C2FB9D64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56154" y="2746259"/>
            <a:ext cx="246873" cy="415786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D53964C7-2374-4F4C-93CC-A76B796305D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843181" y="5043611"/>
            <a:ext cx="257175" cy="32385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4DC4CEEA-C003-43B8-B6D0-7629428B22F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855882" y="4282730"/>
            <a:ext cx="304800" cy="285750"/>
          </a:xfrm>
          <a:prstGeom prst="rect">
            <a:avLst/>
          </a:prstGeom>
        </p:spPr>
      </p:pic>
      <p:sp>
        <p:nvSpPr>
          <p:cNvPr id="56" name="Oval 55">
            <a:extLst>
              <a:ext uri="{FF2B5EF4-FFF2-40B4-BE49-F238E27FC236}">
                <a16:creationId xmlns:a16="http://schemas.microsoft.com/office/drawing/2014/main" id="{A7B34DC1-2CE8-4503-B708-04F24C2A2A51}"/>
              </a:ext>
            </a:extLst>
          </p:cNvPr>
          <p:cNvSpPr/>
          <p:nvPr/>
        </p:nvSpPr>
        <p:spPr>
          <a:xfrm>
            <a:off x="3680189" y="3408271"/>
            <a:ext cx="590472" cy="590472"/>
          </a:xfrm>
          <a:prstGeom prst="ellipse">
            <a:avLst/>
          </a:prstGeom>
          <a:solidFill>
            <a:schemeClr val="tx2">
              <a:alpha val="2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38B88234-F33E-4B76-AE8C-F21FBE6F455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843181" y="3551107"/>
            <a:ext cx="247650" cy="304800"/>
          </a:xfrm>
          <a:prstGeom prst="rect">
            <a:avLst/>
          </a:prstGeom>
        </p:spPr>
      </p:pic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B388D6E-E56C-461D-8F18-1236C39A4EE2}"/>
              </a:ext>
            </a:extLst>
          </p:cNvPr>
          <p:cNvCxnSpPr/>
          <p:nvPr/>
        </p:nvCxnSpPr>
        <p:spPr>
          <a:xfrm>
            <a:off x="2817353" y="3772503"/>
            <a:ext cx="921708" cy="0"/>
          </a:xfrm>
          <a:prstGeom prst="line">
            <a:avLst/>
          </a:prstGeom>
          <a:ln w="28575">
            <a:solidFill>
              <a:srgbClr val="ADDDF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 10">
            <a:extLst>
              <a:ext uri="{FF2B5EF4-FFF2-40B4-BE49-F238E27FC236}">
                <a16:creationId xmlns:a16="http://schemas.microsoft.com/office/drawing/2014/main" id="{DA818D87-A91D-4302-A9A0-E38F806C67FB}"/>
              </a:ext>
            </a:extLst>
          </p:cNvPr>
          <p:cNvSpPr>
            <a:spLocks/>
          </p:cNvSpPr>
          <p:nvPr/>
        </p:nvSpPr>
        <p:spPr bwMode="auto">
          <a:xfrm>
            <a:off x="1030275" y="3100619"/>
            <a:ext cx="2309528" cy="687510"/>
          </a:xfrm>
          <a:custGeom>
            <a:avLst/>
            <a:gdLst>
              <a:gd name="T0" fmla="*/ 0 w 4262"/>
              <a:gd name="T1" fmla="*/ 643 h 1268"/>
              <a:gd name="T2" fmla="*/ 0 w 4262"/>
              <a:gd name="T3" fmla="*/ 643 h 1268"/>
              <a:gd name="T4" fmla="*/ 85 w 4262"/>
              <a:gd name="T5" fmla="*/ 1268 h 1268"/>
              <a:gd name="T6" fmla="*/ 4178 w 4262"/>
              <a:gd name="T7" fmla="*/ 1268 h 1268"/>
              <a:gd name="T8" fmla="*/ 4262 w 4262"/>
              <a:gd name="T9" fmla="*/ 643 h 1268"/>
              <a:gd name="T10" fmla="*/ 4174 w 4262"/>
              <a:gd name="T11" fmla="*/ 0 h 1268"/>
              <a:gd name="T12" fmla="*/ 89 w 4262"/>
              <a:gd name="T13" fmla="*/ 0 h 1268"/>
              <a:gd name="T14" fmla="*/ 0 w 4262"/>
              <a:gd name="T15" fmla="*/ 643 h 1268"/>
              <a:gd name="T16" fmla="*/ 0 w 4262"/>
              <a:gd name="T17" fmla="*/ 643 h 1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62" h="1268">
                <a:moveTo>
                  <a:pt x="0" y="643"/>
                </a:moveTo>
                <a:lnTo>
                  <a:pt x="0" y="643"/>
                </a:lnTo>
                <a:cubicBezTo>
                  <a:pt x="0" y="876"/>
                  <a:pt x="32" y="1082"/>
                  <a:pt x="85" y="1268"/>
                </a:cubicBezTo>
                <a:lnTo>
                  <a:pt x="4178" y="1268"/>
                </a:lnTo>
                <a:cubicBezTo>
                  <a:pt x="4230" y="1082"/>
                  <a:pt x="4262" y="876"/>
                  <a:pt x="4262" y="643"/>
                </a:cubicBezTo>
                <a:cubicBezTo>
                  <a:pt x="4262" y="412"/>
                  <a:pt x="4231" y="198"/>
                  <a:pt x="4174" y="0"/>
                </a:cubicBezTo>
                <a:lnTo>
                  <a:pt x="89" y="0"/>
                </a:lnTo>
                <a:cubicBezTo>
                  <a:pt x="31" y="198"/>
                  <a:pt x="0" y="412"/>
                  <a:pt x="0" y="643"/>
                </a:cubicBezTo>
                <a:lnTo>
                  <a:pt x="0" y="6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12">
            <a:extLst>
              <a:ext uri="{FF2B5EF4-FFF2-40B4-BE49-F238E27FC236}">
                <a16:creationId xmlns:a16="http://schemas.microsoft.com/office/drawing/2014/main" id="{7F64F4E7-0FEB-4C03-8F35-B200A0005E7D}"/>
              </a:ext>
            </a:extLst>
          </p:cNvPr>
          <p:cNvSpPr>
            <a:spLocks/>
          </p:cNvSpPr>
          <p:nvPr/>
        </p:nvSpPr>
        <p:spPr bwMode="auto">
          <a:xfrm>
            <a:off x="1481616" y="4583861"/>
            <a:ext cx="1429769" cy="714247"/>
          </a:xfrm>
          <a:custGeom>
            <a:avLst/>
            <a:gdLst>
              <a:gd name="T0" fmla="*/ 0 w 2640"/>
              <a:gd name="T1" fmla="*/ 0 h 1317"/>
              <a:gd name="T2" fmla="*/ 0 w 2640"/>
              <a:gd name="T3" fmla="*/ 0 h 1317"/>
              <a:gd name="T4" fmla="*/ 127 w 2640"/>
              <a:gd name="T5" fmla="*/ 630 h 1317"/>
              <a:gd name="T6" fmla="*/ 610 w 2640"/>
              <a:gd name="T7" fmla="*/ 1317 h 1317"/>
              <a:gd name="T8" fmla="*/ 2030 w 2640"/>
              <a:gd name="T9" fmla="*/ 1317 h 1317"/>
              <a:gd name="T10" fmla="*/ 2513 w 2640"/>
              <a:gd name="T11" fmla="*/ 630 h 1317"/>
              <a:gd name="T12" fmla="*/ 2640 w 2640"/>
              <a:gd name="T13" fmla="*/ 0 h 1317"/>
              <a:gd name="T14" fmla="*/ 0 w 2640"/>
              <a:gd name="T15" fmla="*/ 0 h 1317"/>
              <a:gd name="T16" fmla="*/ 0 w 2640"/>
              <a:gd name="T17" fmla="*/ 0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40" h="1317">
                <a:moveTo>
                  <a:pt x="0" y="0"/>
                </a:moveTo>
                <a:lnTo>
                  <a:pt x="0" y="0"/>
                </a:lnTo>
                <a:cubicBezTo>
                  <a:pt x="77" y="190"/>
                  <a:pt x="127" y="394"/>
                  <a:pt x="127" y="630"/>
                </a:cubicBezTo>
                <a:cubicBezTo>
                  <a:pt x="127" y="857"/>
                  <a:pt x="340" y="1317"/>
                  <a:pt x="610" y="1317"/>
                </a:cubicBezTo>
                <a:lnTo>
                  <a:pt x="2030" y="1317"/>
                </a:lnTo>
                <a:cubicBezTo>
                  <a:pt x="2300" y="1317"/>
                  <a:pt x="2513" y="857"/>
                  <a:pt x="2513" y="630"/>
                </a:cubicBezTo>
                <a:cubicBezTo>
                  <a:pt x="2513" y="394"/>
                  <a:pt x="2563" y="190"/>
                  <a:pt x="2640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14">
            <a:extLst>
              <a:ext uri="{FF2B5EF4-FFF2-40B4-BE49-F238E27FC236}">
                <a16:creationId xmlns:a16="http://schemas.microsoft.com/office/drawing/2014/main" id="{B5595D40-7B38-488D-80C6-290A8CFC9371}"/>
              </a:ext>
            </a:extLst>
          </p:cNvPr>
          <p:cNvSpPr>
            <a:spLocks/>
          </p:cNvSpPr>
          <p:nvPr/>
        </p:nvSpPr>
        <p:spPr bwMode="auto">
          <a:xfrm>
            <a:off x="1104758" y="3842876"/>
            <a:ext cx="2184757" cy="687510"/>
          </a:xfrm>
          <a:custGeom>
            <a:avLst/>
            <a:gdLst>
              <a:gd name="T0" fmla="*/ 3379 w 4032"/>
              <a:gd name="T1" fmla="*/ 1267 h 1267"/>
              <a:gd name="T2" fmla="*/ 3379 w 4032"/>
              <a:gd name="T3" fmla="*/ 1267 h 1267"/>
              <a:gd name="T4" fmla="*/ 4032 w 4032"/>
              <a:gd name="T5" fmla="*/ 0 h 1267"/>
              <a:gd name="T6" fmla="*/ 0 w 4032"/>
              <a:gd name="T7" fmla="*/ 0 h 1267"/>
              <a:gd name="T8" fmla="*/ 653 w 4032"/>
              <a:gd name="T9" fmla="*/ 1267 h 1267"/>
              <a:gd name="T10" fmla="*/ 3379 w 4032"/>
              <a:gd name="T11" fmla="*/ 1267 h 1267"/>
              <a:gd name="T12" fmla="*/ 3379 w 4032"/>
              <a:gd name="T13" fmla="*/ 1267 h 1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32" h="1267">
                <a:moveTo>
                  <a:pt x="3379" y="1267"/>
                </a:moveTo>
                <a:lnTo>
                  <a:pt x="3379" y="1267"/>
                </a:lnTo>
                <a:cubicBezTo>
                  <a:pt x="3568" y="854"/>
                  <a:pt x="3869" y="495"/>
                  <a:pt x="4032" y="0"/>
                </a:cubicBezTo>
                <a:lnTo>
                  <a:pt x="0" y="0"/>
                </a:lnTo>
                <a:cubicBezTo>
                  <a:pt x="163" y="495"/>
                  <a:pt x="464" y="854"/>
                  <a:pt x="653" y="1267"/>
                </a:cubicBezTo>
                <a:lnTo>
                  <a:pt x="3379" y="1267"/>
                </a:lnTo>
                <a:lnTo>
                  <a:pt x="3379" y="1267"/>
                </a:lnTo>
                <a:close/>
              </a:path>
            </a:pathLst>
          </a:custGeom>
          <a:solidFill>
            <a:srgbClr val="00B0A8"/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B0A8"/>
              </a:solidFill>
            </a:endParaRPr>
          </a:p>
        </p:txBody>
      </p:sp>
      <p:sp>
        <p:nvSpPr>
          <p:cNvPr id="60" name="Freeform 7">
            <a:extLst>
              <a:ext uri="{FF2B5EF4-FFF2-40B4-BE49-F238E27FC236}">
                <a16:creationId xmlns:a16="http://schemas.microsoft.com/office/drawing/2014/main" id="{7CB9992D-7D39-4964-BC46-9178A9ACBAD9}"/>
              </a:ext>
            </a:extLst>
          </p:cNvPr>
          <p:cNvSpPr>
            <a:spLocks/>
          </p:cNvSpPr>
          <p:nvPr/>
        </p:nvSpPr>
        <p:spPr bwMode="auto">
          <a:xfrm>
            <a:off x="1100621" y="2332901"/>
            <a:ext cx="2179665" cy="714247"/>
          </a:xfrm>
          <a:custGeom>
            <a:avLst/>
            <a:gdLst>
              <a:gd name="T0" fmla="*/ 4021 w 4021"/>
              <a:gd name="T1" fmla="*/ 1317 h 1317"/>
              <a:gd name="T2" fmla="*/ 4021 w 4021"/>
              <a:gd name="T3" fmla="*/ 1317 h 1317"/>
              <a:gd name="T4" fmla="*/ 2010 w 4021"/>
              <a:gd name="T5" fmla="*/ 0 h 1317"/>
              <a:gd name="T6" fmla="*/ 0 w 4021"/>
              <a:gd name="T7" fmla="*/ 1317 h 1317"/>
              <a:gd name="T8" fmla="*/ 4021 w 4021"/>
              <a:gd name="T9" fmla="*/ 1317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21" h="1317">
                <a:moveTo>
                  <a:pt x="4021" y="1317"/>
                </a:moveTo>
                <a:lnTo>
                  <a:pt x="4021" y="1317"/>
                </a:lnTo>
                <a:cubicBezTo>
                  <a:pt x="3733" y="492"/>
                  <a:pt x="2960" y="0"/>
                  <a:pt x="2010" y="0"/>
                </a:cubicBezTo>
                <a:cubicBezTo>
                  <a:pt x="1060" y="0"/>
                  <a:pt x="287" y="492"/>
                  <a:pt x="0" y="1317"/>
                </a:cubicBezTo>
                <a:lnTo>
                  <a:pt x="4021" y="131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0CD0147C-44E3-4B99-AF02-41D1A05EF711}"/>
              </a:ext>
            </a:extLst>
          </p:cNvPr>
          <p:cNvGrpSpPr/>
          <p:nvPr/>
        </p:nvGrpSpPr>
        <p:grpSpPr>
          <a:xfrm>
            <a:off x="6780802" y="2399836"/>
            <a:ext cx="5052398" cy="2539775"/>
            <a:chOff x="6780802" y="2399836"/>
            <a:chExt cx="5052398" cy="2539775"/>
          </a:xfrm>
        </p:grpSpPr>
        <p:sp>
          <p:nvSpPr>
            <p:cNvPr id="97" name="Rounded Rectangle 41">
              <a:extLst>
                <a:ext uri="{FF2B5EF4-FFF2-40B4-BE49-F238E27FC236}">
                  <a16:creationId xmlns:a16="http://schemas.microsoft.com/office/drawing/2014/main" id="{C28AC710-E99A-4A1E-88C6-B20C74D7B29D}"/>
                </a:ext>
              </a:extLst>
            </p:cNvPr>
            <p:cNvSpPr/>
            <p:nvPr/>
          </p:nvSpPr>
          <p:spPr>
            <a:xfrm>
              <a:off x="8576715" y="3387615"/>
              <a:ext cx="1440000" cy="1440000"/>
            </a:xfrm>
            <a:prstGeom prst="roundRect">
              <a:avLst/>
            </a:prstGeom>
            <a:solidFill>
              <a:srgbClr val="00B0A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ounded Rectangle 42">
              <a:extLst>
                <a:ext uri="{FF2B5EF4-FFF2-40B4-BE49-F238E27FC236}">
                  <a16:creationId xmlns:a16="http://schemas.microsoft.com/office/drawing/2014/main" id="{2ED8C083-99BC-41CD-BDA0-E75B46965092}"/>
                </a:ext>
              </a:extLst>
            </p:cNvPr>
            <p:cNvSpPr/>
            <p:nvPr/>
          </p:nvSpPr>
          <p:spPr>
            <a:xfrm>
              <a:off x="8576715" y="2893726"/>
              <a:ext cx="1440000" cy="1440000"/>
            </a:xfrm>
            <a:prstGeom prst="roundRect">
              <a:avLst/>
            </a:prstGeom>
            <a:solidFill>
              <a:srgbClr val="02677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ounded Rectangle 43">
              <a:extLst>
                <a:ext uri="{FF2B5EF4-FFF2-40B4-BE49-F238E27FC236}">
                  <a16:creationId xmlns:a16="http://schemas.microsoft.com/office/drawing/2014/main" id="{94B3788D-11C6-4DF4-8BE4-C4B736A8DDBB}"/>
                </a:ext>
              </a:extLst>
            </p:cNvPr>
            <p:cNvSpPr/>
            <p:nvPr/>
          </p:nvSpPr>
          <p:spPr>
            <a:xfrm>
              <a:off x="8576715" y="2399836"/>
              <a:ext cx="1440000" cy="1440000"/>
            </a:xfrm>
            <a:prstGeom prst="roundRect">
              <a:avLst/>
            </a:prstGeom>
            <a:solidFill>
              <a:srgbClr val="1D376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03834699-B37E-4CD9-95C0-77B467B0164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6255" y="3775599"/>
              <a:ext cx="590460" cy="0"/>
            </a:xfrm>
            <a:prstGeom prst="line">
              <a:avLst/>
            </a:prstGeom>
            <a:ln w="28575" cmpd="sng">
              <a:solidFill>
                <a:srgbClr val="02677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8942DCC1-FC48-48D1-8F86-7E7C6C7158C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016715" y="4310994"/>
              <a:ext cx="573494" cy="0"/>
            </a:xfrm>
            <a:prstGeom prst="line">
              <a:avLst/>
            </a:prstGeom>
            <a:ln w="28575" cmpd="sng">
              <a:solidFill>
                <a:srgbClr val="00B0A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Oval 12">
              <a:extLst>
                <a:ext uri="{FF2B5EF4-FFF2-40B4-BE49-F238E27FC236}">
                  <a16:creationId xmlns:a16="http://schemas.microsoft.com/office/drawing/2014/main" id="{8765FCC7-99F0-4645-96CB-4D50D615E1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1975" y="3929050"/>
              <a:ext cx="720000" cy="720000"/>
            </a:xfrm>
            <a:prstGeom prst="ellipse">
              <a:avLst/>
            </a:prstGeom>
            <a:solidFill>
              <a:srgbClr val="00B0A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Oval 12">
              <a:extLst>
                <a:ext uri="{FF2B5EF4-FFF2-40B4-BE49-F238E27FC236}">
                  <a16:creationId xmlns:a16="http://schemas.microsoft.com/office/drawing/2014/main" id="{F9536248-F965-47B1-B672-F8D7279F3A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9229" y="3393650"/>
              <a:ext cx="720000" cy="720000"/>
            </a:xfrm>
            <a:prstGeom prst="ellipse">
              <a:avLst/>
            </a:prstGeom>
            <a:solidFill>
              <a:srgbClr val="02677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F103C8CB-3BCC-4BAF-94E7-B8EF918EE548}"/>
                </a:ext>
              </a:extLst>
            </p:cNvPr>
            <p:cNvSpPr/>
            <p:nvPr/>
          </p:nvSpPr>
          <p:spPr>
            <a:xfrm>
              <a:off x="9896347" y="4682618"/>
              <a:ext cx="1936853" cy="256993"/>
            </a:xfrm>
            <a:prstGeom prst="rect">
              <a:avLst/>
            </a:prstGeom>
          </p:spPr>
          <p:txBody>
            <a:bodyPr wrap="square" lIns="182880" rIns="182880" bIns="73152">
              <a:spAutoFit/>
            </a:bodyPr>
            <a:lstStyle/>
            <a:p>
              <a:pPr algn="ctr">
                <a:lnSpc>
                  <a:spcPct val="89000"/>
                </a:lnSpc>
              </a:pPr>
              <a:r>
                <a:rPr lang="da-DK" sz="1000" b="1">
                  <a:latin typeface="Verdana" panose="020B0604030504040204" pitchFamily="34" charset="0"/>
                  <a:ea typeface="Verdana" panose="020B0604030504040204" pitchFamily="34" charset="0"/>
                </a:rPr>
                <a:t>Konsekvenser</a:t>
              </a: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A700DD2B-2D1C-4B8D-8F93-A9A75ACBA7C5}"/>
                </a:ext>
              </a:extLst>
            </p:cNvPr>
            <p:cNvSpPr/>
            <p:nvPr/>
          </p:nvSpPr>
          <p:spPr>
            <a:xfrm>
              <a:off x="6780802" y="4152806"/>
              <a:ext cx="1936853" cy="256993"/>
            </a:xfrm>
            <a:prstGeom prst="rect">
              <a:avLst/>
            </a:prstGeom>
          </p:spPr>
          <p:txBody>
            <a:bodyPr wrap="square" lIns="182880" rIns="182880" bIns="73152">
              <a:spAutoFit/>
            </a:bodyPr>
            <a:lstStyle/>
            <a:p>
              <a:pPr algn="ctr">
                <a:lnSpc>
                  <a:spcPct val="89000"/>
                </a:lnSpc>
              </a:pPr>
              <a:r>
                <a:rPr lang="da-DK" sz="1000" b="1">
                  <a:latin typeface="Verdana" panose="020B0604030504040204" pitchFamily="34" charset="0"/>
                  <a:ea typeface="Verdana" panose="020B0604030504040204" pitchFamily="34" charset="0"/>
                </a:rPr>
                <a:t>Erfaringer</a:t>
              </a:r>
            </a:p>
          </p:txBody>
        </p:sp>
        <p:pic>
          <p:nvPicPr>
            <p:cNvPr id="106" name="Graphic 105" descr="Meeting outline">
              <a:extLst>
                <a:ext uri="{FF2B5EF4-FFF2-40B4-BE49-F238E27FC236}">
                  <a16:creationId xmlns:a16="http://schemas.microsoft.com/office/drawing/2014/main" id="{D58E1474-17AF-4C08-A39A-121A7B26AC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468202" y="3469610"/>
              <a:ext cx="540000" cy="540000"/>
            </a:xfrm>
            <a:prstGeom prst="rect">
              <a:avLst/>
            </a:prstGeom>
          </p:spPr>
        </p:pic>
        <p:pic>
          <p:nvPicPr>
            <p:cNvPr id="107" name="Graphic 106" descr="Downward trend graph outline">
              <a:extLst>
                <a:ext uri="{FF2B5EF4-FFF2-40B4-BE49-F238E27FC236}">
                  <a16:creationId xmlns:a16="http://schemas.microsoft.com/office/drawing/2014/main" id="{D2CC0AC8-464E-47E6-BD31-F0A7FC4E0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0571975" y="4020744"/>
              <a:ext cx="540000" cy="540000"/>
            </a:xfrm>
            <a:prstGeom prst="rect">
              <a:avLst/>
            </a:prstGeom>
          </p:spPr>
        </p:pic>
        <p:pic>
          <p:nvPicPr>
            <p:cNvPr id="108" name="Graphic 107">
              <a:extLst>
                <a:ext uri="{FF2B5EF4-FFF2-40B4-BE49-F238E27FC236}">
                  <a16:creationId xmlns:a16="http://schemas.microsoft.com/office/drawing/2014/main" id="{6600D0FA-EE09-47E1-9CC2-4E140C49F6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 rot="2220939">
              <a:off x="9053669" y="2746923"/>
              <a:ext cx="466597" cy="7858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78397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B7E7B85B-CF63-4473-B930-1A73495DE9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0" imgH="393" progId="TCLayout.ActiveDocument.1">
                  <p:embed/>
                </p:oleObj>
              </mc:Choice>
              <mc:Fallback>
                <p:oleObj name="think-cell Slide" r:id="rId4" imgW="400" imgH="393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B7E7B85B-CF63-4473-B930-1A73495DE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0A07BD-E120-437B-BE84-4B44385DC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32DCD78D-C15E-4E3B-B8BD-C919C2AF5A13}"/>
              </a:ext>
            </a:extLst>
          </p:cNvPr>
          <p:cNvSpPr>
            <a:spLocks/>
          </p:cNvSpPr>
          <p:nvPr/>
        </p:nvSpPr>
        <p:spPr bwMode="auto">
          <a:xfrm>
            <a:off x="1720332" y="5355400"/>
            <a:ext cx="962516" cy="788861"/>
          </a:xfrm>
          <a:custGeom>
            <a:avLst/>
            <a:gdLst>
              <a:gd name="T0" fmla="*/ 1775 w 1775"/>
              <a:gd name="T1" fmla="*/ 272 h 1788"/>
              <a:gd name="T2" fmla="*/ 1775 w 1775"/>
              <a:gd name="T3" fmla="*/ 272 h 1788"/>
              <a:gd name="T4" fmla="*/ 1775 w 1775"/>
              <a:gd name="T5" fmla="*/ 53 h 1788"/>
              <a:gd name="T6" fmla="*/ 1723 w 1775"/>
              <a:gd name="T7" fmla="*/ 0 h 1788"/>
              <a:gd name="T8" fmla="*/ 52 w 1775"/>
              <a:gd name="T9" fmla="*/ 0 h 1788"/>
              <a:gd name="T10" fmla="*/ 0 w 1775"/>
              <a:gd name="T11" fmla="*/ 53 h 1788"/>
              <a:gd name="T12" fmla="*/ 0 w 1775"/>
              <a:gd name="T13" fmla="*/ 342 h 1788"/>
              <a:gd name="T14" fmla="*/ 80 w 1775"/>
              <a:gd name="T15" fmla="*/ 466 h 1788"/>
              <a:gd name="T16" fmla="*/ 0 w 1775"/>
              <a:gd name="T17" fmla="*/ 584 h 1788"/>
              <a:gd name="T18" fmla="*/ 80 w 1775"/>
              <a:gd name="T19" fmla="*/ 711 h 1788"/>
              <a:gd name="T20" fmla="*/ 0 w 1775"/>
              <a:gd name="T21" fmla="*/ 822 h 1788"/>
              <a:gd name="T22" fmla="*/ 80 w 1775"/>
              <a:gd name="T23" fmla="*/ 964 h 1788"/>
              <a:gd name="T24" fmla="*/ 0 w 1775"/>
              <a:gd name="T25" fmla="*/ 1076 h 1788"/>
              <a:gd name="T26" fmla="*/ 80 w 1775"/>
              <a:gd name="T27" fmla="*/ 1209 h 1788"/>
              <a:gd name="T28" fmla="*/ 80 w 1775"/>
              <a:gd name="T29" fmla="*/ 1303 h 1788"/>
              <a:gd name="T30" fmla="*/ 581 w 1775"/>
              <a:gd name="T31" fmla="*/ 1745 h 1788"/>
              <a:gd name="T32" fmla="*/ 693 w 1775"/>
              <a:gd name="T33" fmla="*/ 1788 h 1788"/>
              <a:gd name="T34" fmla="*/ 1086 w 1775"/>
              <a:gd name="T35" fmla="*/ 1788 h 1788"/>
              <a:gd name="T36" fmla="*/ 1198 w 1775"/>
              <a:gd name="T37" fmla="*/ 1745 h 1788"/>
              <a:gd name="T38" fmla="*/ 1695 w 1775"/>
              <a:gd name="T39" fmla="*/ 1303 h 1788"/>
              <a:gd name="T40" fmla="*/ 1695 w 1775"/>
              <a:gd name="T41" fmla="*/ 1139 h 1788"/>
              <a:gd name="T42" fmla="*/ 1775 w 1775"/>
              <a:gd name="T43" fmla="*/ 1005 h 1788"/>
              <a:gd name="T44" fmla="*/ 1695 w 1775"/>
              <a:gd name="T45" fmla="*/ 894 h 1788"/>
              <a:gd name="T46" fmla="*/ 1775 w 1775"/>
              <a:gd name="T47" fmla="*/ 752 h 1788"/>
              <a:gd name="T48" fmla="*/ 1695 w 1775"/>
              <a:gd name="T49" fmla="*/ 641 h 1788"/>
              <a:gd name="T50" fmla="*/ 1775 w 1775"/>
              <a:gd name="T51" fmla="*/ 514 h 1788"/>
              <a:gd name="T52" fmla="*/ 1695 w 1775"/>
              <a:gd name="T53" fmla="*/ 396 h 1788"/>
              <a:gd name="T54" fmla="*/ 1775 w 1775"/>
              <a:gd name="T55" fmla="*/ 272 h 1788"/>
              <a:gd name="T56" fmla="*/ 1775 w 1775"/>
              <a:gd name="T57" fmla="*/ 272 h 1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775" h="1788">
                <a:moveTo>
                  <a:pt x="1775" y="272"/>
                </a:moveTo>
                <a:lnTo>
                  <a:pt x="1775" y="272"/>
                </a:lnTo>
                <a:lnTo>
                  <a:pt x="1775" y="53"/>
                </a:lnTo>
                <a:cubicBezTo>
                  <a:pt x="1775" y="24"/>
                  <a:pt x="1752" y="0"/>
                  <a:pt x="1723" y="0"/>
                </a:cubicBezTo>
                <a:lnTo>
                  <a:pt x="52" y="0"/>
                </a:lnTo>
                <a:cubicBezTo>
                  <a:pt x="23" y="0"/>
                  <a:pt x="0" y="24"/>
                  <a:pt x="0" y="53"/>
                </a:cubicBezTo>
                <a:lnTo>
                  <a:pt x="0" y="342"/>
                </a:lnTo>
                <a:cubicBezTo>
                  <a:pt x="0" y="386"/>
                  <a:pt x="80" y="409"/>
                  <a:pt x="80" y="466"/>
                </a:cubicBezTo>
                <a:cubicBezTo>
                  <a:pt x="80" y="523"/>
                  <a:pt x="0" y="523"/>
                  <a:pt x="0" y="584"/>
                </a:cubicBezTo>
                <a:cubicBezTo>
                  <a:pt x="0" y="645"/>
                  <a:pt x="80" y="639"/>
                  <a:pt x="80" y="711"/>
                </a:cubicBezTo>
                <a:cubicBezTo>
                  <a:pt x="80" y="783"/>
                  <a:pt x="0" y="757"/>
                  <a:pt x="0" y="822"/>
                </a:cubicBezTo>
                <a:cubicBezTo>
                  <a:pt x="0" y="888"/>
                  <a:pt x="80" y="892"/>
                  <a:pt x="80" y="964"/>
                </a:cubicBezTo>
                <a:cubicBezTo>
                  <a:pt x="80" y="1036"/>
                  <a:pt x="0" y="1012"/>
                  <a:pt x="0" y="1076"/>
                </a:cubicBezTo>
                <a:cubicBezTo>
                  <a:pt x="0" y="1139"/>
                  <a:pt x="80" y="1141"/>
                  <a:pt x="80" y="1209"/>
                </a:cubicBezTo>
                <a:lnTo>
                  <a:pt x="80" y="1303"/>
                </a:lnTo>
                <a:lnTo>
                  <a:pt x="581" y="1745"/>
                </a:lnTo>
                <a:cubicBezTo>
                  <a:pt x="612" y="1773"/>
                  <a:pt x="651" y="1788"/>
                  <a:pt x="693" y="1788"/>
                </a:cubicBezTo>
                <a:lnTo>
                  <a:pt x="1086" y="1788"/>
                </a:lnTo>
                <a:cubicBezTo>
                  <a:pt x="1127" y="1788"/>
                  <a:pt x="1167" y="1773"/>
                  <a:pt x="1198" y="1745"/>
                </a:cubicBezTo>
                <a:lnTo>
                  <a:pt x="1695" y="1303"/>
                </a:lnTo>
                <a:lnTo>
                  <a:pt x="1695" y="1139"/>
                </a:lnTo>
                <a:cubicBezTo>
                  <a:pt x="1695" y="1071"/>
                  <a:pt x="1775" y="1069"/>
                  <a:pt x="1775" y="1005"/>
                </a:cubicBezTo>
                <a:cubicBezTo>
                  <a:pt x="1775" y="942"/>
                  <a:pt x="1695" y="966"/>
                  <a:pt x="1695" y="894"/>
                </a:cubicBezTo>
                <a:cubicBezTo>
                  <a:pt x="1695" y="822"/>
                  <a:pt x="1775" y="818"/>
                  <a:pt x="1775" y="752"/>
                </a:cubicBezTo>
                <a:cubicBezTo>
                  <a:pt x="1775" y="687"/>
                  <a:pt x="1695" y="713"/>
                  <a:pt x="1695" y="641"/>
                </a:cubicBezTo>
                <a:cubicBezTo>
                  <a:pt x="1695" y="569"/>
                  <a:pt x="1775" y="575"/>
                  <a:pt x="1775" y="514"/>
                </a:cubicBezTo>
                <a:cubicBezTo>
                  <a:pt x="1775" y="453"/>
                  <a:pt x="1695" y="453"/>
                  <a:pt x="1695" y="396"/>
                </a:cubicBezTo>
                <a:cubicBezTo>
                  <a:pt x="1695" y="339"/>
                  <a:pt x="1775" y="315"/>
                  <a:pt x="1775" y="272"/>
                </a:cubicBezTo>
                <a:lnTo>
                  <a:pt x="1775" y="272"/>
                </a:lnTo>
                <a:close/>
              </a:path>
            </a:pathLst>
          </a:custGeom>
          <a:solidFill>
            <a:srgbClr val="7F7F7F">
              <a:alpha val="50196"/>
            </a:srgbClr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12">
            <a:extLst>
              <a:ext uri="{FF2B5EF4-FFF2-40B4-BE49-F238E27FC236}">
                <a16:creationId xmlns:a16="http://schemas.microsoft.com/office/drawing/2014/main" id="{1566BA18-6B78-48C4-9E2F-5A1BA31645BE}"/>
              </a:ext>
            </a:extLst>
          </p:cNvPr>
          <p:cNvSpPr>
            <a:spLocks/>
          </p:cNvSpPr>
          <p:nvPr/>
        </p:nvSpPr>
        <p:spPr bwMode="auto">
          <a:xfrm>
            <a:off x="1469519" y="4583861"/>
            <a:ext cx="1429769" cy="714247"/>
          </a:xfrm>
          <a:custGeom>
            <a:avLst/>
            <a:gdLst>
              <a:gd name="T0" fmla="*/ 0 w 2640"/>
              <a:gd name="T1" fmla="*/ 0 h 1317"/>
              <a:gd name="T2" fmla="*/ 0 w 2640"/>
              <a:gd name="T3" fmla="*/ 0 h 1317"/>
              <a:gd name="T4" fmla="*/ 127 w 2640"/>
              <a:gd name="T5" fmla="*/ 630 h 1317"/>
              <a:gd name="T6" fmla="*/ 610 w 2640"/>
              <a:gd name="T7" fmla="*/ 1317 h 1317"/>
              <a:gd name="T8" fmla="*/ 2030 w 2640"/>
              <a:gd name="T9" fmla="*/ 1317 h 1317"/>
              <a:gd name="T10" fmla="*/ 2513 w 2640"/>
              <a:gd name="T11" fmla="*/ 630 h 1317"/>
              <a:gd name="T12" fmla="*/ 2640 w 2640"/>
              <a:gd name="T13" fmla="*/ 0 h 1317"/>
              <a:gd name="T14" fmla="*/ 0 w 2640"/>
              <a:gd name="T15" fmla="*/ 0 h 1317"/>
              <a:gd name="T16" fmla="*/ 0 w 2640"/>
              <a:gd name="T17" fmla="*/ 0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40" h="1317">
                <a:moveTo>
                  <a:pt x="0" y="0"/>
                </a:moveTo>
                <a:lnTo>
                  <a:pt x="0" y="0"/>
                </a:lnTo>
                <a:cubicBezTo>
                  <a:pt x="77" y="190"/>
                  <a:pt x="127" y="394"/>
                  <a:pt x="127" y="630"/>
                </a:cubicBezTo>
                <a:cubicBezTo>
                  <a:pt x="127" y="857"/>
                  <a:pt x="340" y="1317"/>
                  <a:pt x="610" y="1317"/>
                </a:cubicBezTo>
                <a:lnTo>
                  <a:pt x="2030" y="1317"/>
                </a:lnTo>
                <a:cubicBezTo>
                  <a:pt x="2300" y="1317"/>
                  <a:pt x="2513" y="857"/>
                  <a:pt x="2513" y="630"/>
                </a:cubicBezTo>
                <a:cubicBezTo>
                  <a:pt x="2513" y="394"/>
                  <a:pt x="2563" y="190"/>
                  <a:pt x="2640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Title 4">
            <a:extLst>
              <a:ext uri="{FF2B5EF4-FFF2-40B4-BE49-F238E27FC236}">
                <a16:creationId xmlns:a16="http://schemas.microsoft.com/office/drawing/2014/main" id="{B854C339-1E7E-42C9-A1E2-868ABD64E2A5}"/>
              </a:ext>
            </a:extLst>
          </p:cNvPr>
          <p:cNvSpPr txBox="1">
            <a:spLocks/>
          </p:cNvSpPr>
          <p:nvPr/>
        </p:nvSpPr>
        <p:spPr>
          <a:xfrm>
            <a:off x="358775" y="39103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Den hastige teknologiske udvikling øger presset på udbyderne for at udvikle og anskaffe nye TDU-faciliteter</a:t>
            </a:r>
          </a:p>
        </p:txBody>
      </p:sp>
      <p:pic>
        <p:nvPicPr>
          <p:cNvPr id="58" name="Graphic 57" descr="Man outline">
            <a:extLst>
              <a:ext uri="{FF2B5EF4-FFF2-40B4-BE49-F238E27FC236}">
                <a16:creationId xmlns:a16="http://schemas.microsoft.com/office/drawing/2014/main" id="{9FB79A85-4220-46AF-B813-5E8595E0E4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68202" y="3483650"/>
            <a:ext cx="540000" cy="540000"/>
          </a:xfrm>
          <a:prstGeom prst="rect">
            <a:avLst/>
          </a:prstGeom>
        </p:spPr>
      </p:pic>
      <p:pic>
        <p:nvPicPr>
          <p:cNvPr id="59" name="Graphic 58" descr="Group of men outline">
            <a:extLst>
              <a:ext uri="{FF2B5EF4-FFF2-40B4-BE49-F238E27FC236}">
                <a16:creationId xmlns:a16="http://schemas.microsoft.com/office/drawing/2014/main" id="{B8ECD318-6283-4C5B-9729-FE05710E71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74094" y="4023901"/>
            <a:ext cx="540000" cy="540000"/>
          </a:xfrm>
          <a:prstGeom prst="rect">
            <a:avLst/>
          </a:prstGeom>
        </p:spPr>
      </p:pic>
      <p:pic>
        <p:nvPicPr>
          <p:cNvPr id="60" name="Graphic 59" descr="Lightbulb outline">
            <a:extLst>
              <a:ext uri="{FF2B5EF4-FFF2-40B4-BE49-F238E27FC236}">
                <a16:creationId xmlns:a16="http://schemas.microsoft.com/office/drawing/2014/main" id="{CB27C59A-0069-4ACC-A2BA-D9580733132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2102143">
            <a:off x="8822920" y="2639044"/>
            <a:ext cx="914400" cy="914400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6E06E6D7-E4E8-4AC3-B795-00DA6A95B87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37748" y="4914506"/>
            <a:ext cx="2738466" cy="566070"/>
          </a:xfrm>
          <a:prstGeom prst="rect">
            <a:avLst/>
          </a:prstGeom>
        </p:spPr>
      </p:pic>
      <p:sp>
        <p:nvSpPr>
          <p:cNvPr id="89" name="Freeform 12">
            <a:extLst>
              <a:ext uri="{FF2B5EF4-FFF2-40B4-BE49-F238E27FC236}">
                <a16:creationId xmlns:a16="http://schemas.microsoft.com/office/drawing/2014/main" id="{4F904279-F348-4725-BE8F-9FFE631A5F7A}"/>
              </a:ext>
            </a:extLst>
          </p:cNvPr>
          <p:cNvSpPr>
            <a:spLocks/>
          </p:cNvSpPr>
          <p:nvPr/>
        </p:nvSpPr>
        <p:spPr bwMode="auto">
          <a:xfrm>
            <a:off x="1469519" y="4583861"/>
            <a:ext cx="1429769" cy="714247"/>
          </a:xfrm>
          <a:custGeom>
            <a:avLst/>
            <a:gdLst>
              <a:gd name="T0" fmla="*/ 0 w 2640"/>
              <a:gd name="T1" fmla="*/ 0 h 1317"/>
              <a:gd name="T2" fmla="*/ 0 w 2640"/>
              <a:gd name="T3" fmla="*/ 0 h 1317"/>
              <a:gd name="T4" fmla="*/ 127 w 2640"/>
              <a:gd name="T5" fmla="*/ 630 h 1317"/>
              <a:gd name="T6" fmla="*/ 610 w 2640"/>
              <a:gd name="T7" fmla="*/ 1317 h 1317"/>
              <a:gd name="T8" fmla="*/ 2030 w 2640"/>
              <a:gd name="T9" fmla="*/ 1317 h 1317"/>
              <a:gd name="T10" fmla="*/ 2513 w 2640"/>
              <a:gd name="T11" fmla="*/ 630 h 1317"/>
              <a:gd name="T12" fmla="*/ 2640 w 2640"/>
              <a:gd name="T13" fmla="*/ 0 h 1317"/>
              <a:gd name="T14" fmla="*/ 0 w 2640"/>
              <a:gd name="T15" fmla="*/ 0 h 1317"/>
              <a:gd name="T16" fmla="*/ 0 w 2640"/>
              <a:gd name="T17" fmla="*/ 0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40" h="1317">
                <a:moveTo>
                  <a:pt x="0" y="0"/>
                </a:moveTo>
                <a:lnTo>
                  <a:pt x="0" y="0"/>
                </a:lnTo>
                <a:cubicBezTo>
                  <a:pt x="77" y="190"/>
                  <a:pt x="127" y="394"/>
                  <a:pt x="127" y="630"/>
                </a:cubicBezTo>
                <a:cubicBezTo>
                  <a:pt x="127" y="857"/>
                  <a:pt x="340" y="1317"/>
                  <a:pt x="610" y="1317"/>
                </a:cubicBezTo>
                <a:lnTo>
                  <a:pt x="2030" y="1317"/>
                </a:lnTo>
                <a:cubicBezTo>
                  <a:pt x="2300" y="1317"/>
                  <a:pt x="2513" y="857"/>
                  <a:pt x="2513" y="630"/>
                </a:cubicBezTo>
                <a:cubicBezTo>
                  <a:pt x="2513" y="394"/>
                  <a:pt x="2563" y="190"/>
                  <a:pt x="2640" y="0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454545"/>
          </a:soli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C8D1D84-CD75-41F9-BD60-76A86A2CCD41}"/>
              </a:ext>
            </a:extLst>
          </p:cNvPr>
          <p:cNvSpPr/>
          <p:nvPr/>
        </p:nvSpPr>
        <p:spPr>
          <a:xfrm>
            <a:off x="4260000" y="5054425"/>
            <a:ext cx="2581710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da-DK" sz="1400" b="1"/>
              <a:t>Teknologisk udvikling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3C7AEAFB-518A-43B0-B362-39E66BA506AE}"/>
              </a:ext>
            </a:extLst>
          </p:cNvPr>
          <p:cNvSpPr/>
          <p:nvPr/>
        </p:nvSpPr>
        <p:spPr>
          <a:xfrm>
            <a:off x="3676854" y="4904827"/>
            <a:ext cx="590472" cy="590472"/>
          </a:xfrm>
          <a:prstGeom prst="ellipse">
            <a:avLst/>
          </a:prstGeom>
          <a:solidFill>
            <a:srgbClr val="454545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B990B86C-D459-455E-AC67-C9F42E55DE2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839846" y="5043611"/>
            <a:ext cx="257175" cy="323850"/>
          </a:xfrm>
          <a:prstGeom prst="rect">
            <a:avLst/>
          </a:prstGeom>
        </p:spPr>
      </p:pic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D2A9092D-D8FC-4355-AE4C-A51451FEB8B4}"/>
              </a:ext>
            </a:extLst>
          </p:cNvPr>
          <p:cNvCxnSpPr>
            <a:cxnSpLocks/>
          </p:cNvCxnSpPr>
          <p:nvPr/>
        </p:nvCxnSpPr>
        <p:spPr>
          <a:xfrm>
            <a:off x="2270638" y="5283752"/>
            <a:ext cx="1519237" cy="0"/>
          </a:xfrm>
          <a:prstGeom prst="line">
            <a:avLst/>
          </a:prstGeom>
          <a:ln w="28575">
            <a:solidFill>
              <a:srgbClr val="4545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Oval 93">
            <a:extLst>
              <a:ext uri="{FF2B5EF4-FFF2-40B4-BE49-F238E27FC236}">
                <a16:creationId xmlns:a16="http://schemas.microsoft.com/office/drawing/2014/main" id="{77C524B3-84FB-405C-8587-D582BECD66B2}"/>
              </a:ext>
            </a:extLst>
          </p:cNvPr>
          <p:cNvSpPr/>
          <p:nvPr/>
        </p:nvSpPr>
        <p:spPr>
          <a:xfrm>
            <a:off x="3680189" y="2658916"/>
            <a:ext cx="590472" cy="590472"/>
          </a:xfrm>
          <a:prstGeom prst="ellipse">
            <a:avLst/>
          </a:prstGeom>
          <a:solidFill>
            <a:schemeClr val="tx2">
              <a:alpha val="2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5C087B1D-F3D5-4FEE-8A9D-4936F38BA621}"/>
              </a:ext>
            </a:extLst>
          </p:cNvPr>
          <p:cNvCxnSpPr>
            <a:cxnSpLocks/>
          </p:cNvCxnSpPr>
          <p:nvPr/>
        </p:nvCxnSpPr>
        <p:spPr>
          <a:xfrm>
            <a:off x="2817353" y="3029500"/>
            <a:ext cx="828532" cy="0"/>
          </a:xfrm>
          <a:prstGeom prst="line">
            <a:avLst/>
          </a:prstGeom>
          <a:ln w="28575">
            <a:solidFill>
              <a:srgbClr val="ADDDF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" name="Graphic 95">
            <a:extLst>
              <a:ext uri="{FF2B5EF4-FFF2-40B4-BE49-F238E27FC236}">
                <a16:creationId xmlns:a16="http://schemas.microsoft.com/office/drawing/2014/main" id="{67C31B22-A8EA-4594-AC3E-BC7B7DE8632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856154" y="2746259"/>
            <a:ext cx="246873" cy="415786"/>
          </a:xfrm>
          <a:prstGeom prst="rect">
            <a:avLst/>
          </a:prstGeom>
        </p:spPr>
      </p:pic>
      <p:sp>
        <p:nvSpPr>
          <p:cNvPr id="97" name="Oval 96">
            <a:extLst>
              <a:ext uri="{FF2B5EF4-FFF2-40B4-BE49-F238E27FC236}">
                <a16:creationId xmlns:a16="http://schemas.microsoft.com/office/drawing/2014/main" id="{385A63D7-D561-408A-89F8-41AD927F1108}"/>
              </a:ext>
            </a:extLst>
          </p:cNvPr>
          <p:cNvSpPr/>
          <p:nvPr/>
        </p:nvSpPr>
        <p:spPr>
          <a:xfrm>
            <a:off x="3680189" y="3408271"/>
            <a:ext cx="590472" cy="590472"/>
          </a:xfrm>
          <a:prstGeom prst="ellipse">
            <a:avLst/>
          </a:prstGeom>
          <a:solidFill>
            <a:schemeClr val="tx2">
              <a:alpha val="20000"/>
            </a:scheme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98" name="Graphic 97">
            <a:extLst>
              <a:ext uri="{FF2B5EF4-FFF2-40B4-BE49-F238E27FC236}">
                <a16:creationId xmlns:a16="http://schemas.microsoft.com/office/drawing/2014/main" id="{DBFEA63A-6B27-47C7-9307-1661B3E5C0F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843181" y="3551107"/>
            <a:ext cx="247650" cy="304800"/>
          </a:xfrm>
          <a:prstGeom prst="rect">
            <a:avLst/>
          </a:prstGeom>
        </p:spPr>
      </p:pic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71A902A0-C77A-4AF3-B19E-0DAFB33E9997}"/>
              </a:ext>
            </a:extLst>
          </p:cNvPr>
          <p:cNvCxnSpPr/>
          <p:nvPr/>
        </p:nvCxnSpPr>
        <p:spPr>
          <a:xfrm>
            <a:off x="2817353" y="3772503"/>
            <a:ext cx="921708" cy="0"/>
          </a:xfrm>
          <a:prstGeom prst="line">
            <a:avLst/>
          </a:prstGeom>
          <a:ln w="28575">
            <a:solidFill>
              <a:srgbClr val="ADDDF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Freeform 10">
            <a:extLst>
              <a:ext uri="{FF2B5EF4-FFF2-40B4-BE49-F238E27FC236}">
                <a16:creationId xmlns:a16="http://schemas.microsoft.com/office/drawing/2014/main" id="{AED35EF0-076E-48A9-B99B-E75405B511FC}"/>
              </a:ext>
            </a:extLst>
          </p:cNvPr>
          <p:cNvSpPr>
            <a:spLocks/>
          </p:cNvSpPr>
          <p:nvPr/>
        </p:nvSpPr>
        <p:spPr bwMode="auto">
          <a:xfrm>
            <a:off x="1030275" y="3100619"/>
            <a:ext cx="2309528" cy="687510"/>
          </a:xfrm>
          <a:custGeom>
            <a:avLst/>
            <a:gdLst>
              <a:gd name="T0" fmla="*/ 0 w 4262"/>
              <a:gd name="T1" fmla="*/ 643 h 1268"/>
              <a:gd name="T2" fmla="*/ 0 w 4262"/>
              <a:gd name="T3" fmla="*/ 643 h 1268"/>
              <a:gd name="T4" fmla="*/ 85 w 4262"/>
              <a:gd name="T5" fmla="*/ 1268 h 1268"/>
              <a:gd name="T6" fmla="*/ 4178 w 4262"/>
              <a:gd name="T7" fmla="*/ 1268 h 1268"/>
              <a:gd name="T8" fmla="*/ 4262 w 4262"/>
              <a:gd name="T9" fmla="*/ 643 h 1268"/>
              <a:gd name="T10" fmla="*/ 4174 w 4262"/>
              <a:gd name="T11" fmla="*/ 0 h 1268"/>
              <a:gd name="T12" fmla="*/ 89 w 4262"/>
              <a:gd name="T13" fmla="*/ 0 h 1268"/>
              <a:gd name="T14" fmla="*/ 0 w 4262"/>
              <a:gd name="T15" fmla="*/ 643 h 1268"/>
              <a:gd name="T16" fmla="*/ 0 w 4262"/>
              <a:gd name="T17" fmla="*/ 643 h 1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62" h="1268">
                <a:moveTo>
                  <a:pt x="0" y="643"/>
                </a:moveTo>
                <a:lnTo>
                  <a:pt x="0" y="643"/>
                </a:lnTo>
                <a:cubicBezTo>
                  <a:pt x="0" y="876"/>
                  <a:pt x="32" y="1082"/>
                  <a:pt x="85" y="1268"/>
                </a:cubicBezTo>
                <a:lnTo>
                  <a:pt x="4178" y="1268"/>
                </a:lnTo>
                <a:cubicBezTo>
                  <a:pt x="4230" y="1082"/>
                  <a:pt x="4262" y="876"/>
                  <a:pt x="4262" y="643"/>
                </a:cubicBezTo>
                <a:cubicBezTo>
                  <a:pt x="4262" y="412"/>
                  <a:pt x="4231" y="198"/>
                  <a:pt x="4174" y="0"/>
                </a:cubicBezTo>
                <a:lnTo>
                  <a:pt x="89" y="0"/>
                </a:lnTo>
                <a:cubicBezTo>
                  <a:pt x="31" y="198"/>
                  <a:pt x="0" y="412"/>
                  <a:pt x="0" y="643"/>
                </a:cubicBezTo>
                <a:lnTo>
                  <a:pt x="0" y="6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Freeform 7">
            <a:extLst>
              <a:ext uri="{FF2B5EF4-FFF2-40B4-BE49-F238E27FC236}">
                <a16:creationId xmlns:a16="http://schemas.microsoft.com/office/drawing/2014/main" id="{1767B220-C7C7-4A2D-86EB-BDFD78E61F25}"/>
              </a:ext>
            </a:extLst>
          </p:cNvPr>
          <p:cNvSpPr>
            <a:spLocks/>
          </p:cNvSpPr>
          <p:nvPr/>
        </p:nvSpPr>
        <p:spPr bwMode="auto">
          <a:xfrm>
            <a:off x="1100621" y="2332901"/>
            <a:ext cx="2179665" cy="714247"/>
          </a:xfrm>
          <a:custGeom>
            <a:avLst/>
            <a:gdLst>
              <a:gd name="T0" fmla="*/ 4021 w 4021"/>
              <a:gd name="T1" fmla="*/ 1317 h 1317"/>
              <a:gd name="T2" fmla="*/ 4021 w 4021"/>
              <a:gd name="T3" fmla="*/ 1317 h 1317"/>
              <a:gd name="T4" fmla="*/ 2010 w 4021"/>
              <a:gd name="T5" fmla="*/ 0 h 1317"/>
              <a:gd name="T6" fmla="*/ 0 w 4021"/>
              <a:gd name="T7" fmla="*/ 1317 h 1317"/>
              <a:gd name="T8" fmla="*/ 4021 w 4021"/>
              <a:gd name="T9" fmla="*/ 1317 h 1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21" h="1317">
                <a:moveTo>
                  <a:pt x="4021" y="1317"/>
                </a:moveTo>
                <a:lnTo>
                  <a:pt x="4021" y="1317"/>
                </a:lnTo>
                <a:cubicBezTo>
                  <a:pt x="3733" y="492"/>
                  <a:pt x="2960" y="0"/>
                  <a:pt x="2010" y="0"/>
                </a:cubicBezTo>
                <a:cubicBezTo>
                  <a:pt x="1060" y="0"/>
                  <a:pt x="287" y="492"/>
                  <a:pt x="0" y="1317"/>
                </a:cubicBezTo>
                <a:lnTo>
                  <a:pt x="4021" y="131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32C86F8-66C4-4907-9B21-AAD51845E03F}"/>
              </a:ext>
            </a:extLst>
          </p:cNvPr>
          <p:cNvCxnSpPr>
            <a:cxnSpLocks/>
          </p:cNvCxnSpPr>
          <p:nvPr/>
        </p:nvCxnSpPr>
        <p:spPr>
          <a:xfrm>
            <a:off x="2828606" y="4513813"/>
            <a:ext cx="828532" cy="0"/>
          </a:xfrm>
          <a:prstGeom prst="line">
            <a:avLst/>
          </a:prstGeom>
          <a:ln w="28575">
            <a:solidFill>
              <a:srgbClr val="ADDDF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102">
            <a:extLst>
              <a:ext uri="{FF2B5EF4-FFF2-40B4-BE49-F238E27FC236}">
                <a16:creationId xmlns:a16="http://schemas.microsoft.com/office/drawing/2014/main" id="{3BD371E7-75F6-4272-B8E9-C90FC778D307}"/>
              </a:ext>
            </a:extLst>
          </p:cNvPr>
          <p:cNvSpPr/>
          <p:nvPr/>
        </p:nvSpPr>
        <p:spPr>
          <a:xfrm>
            <a:off x="3691442" y="4148770"/>
            <a:ext cx="590472" cy="590472"/>
          </a:xfrm>
          <a:prstGeom prst="ellipse">
            <a:avLst/>
          </a:prstGeom>
          <a:solidFill>
            <a:srgbClr val="009DF0">
              <a:alpha val="20000"/>
            </a:srgbClr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04" name="Graphic 103">
            <a:extLst>
              <a:ext uri="{FF2B5EF4-FFF2-40B4-BE49-F238E27FC236}">
                <a16:creationId xmlns:a16="http://schemas.microsoft.com/office/drawing/2014/main" id="{9D240678-194E-4A96-A63E-4072399868B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867135" y="4282730"/>
            <a:ext cx="304800" cy="285750"/>
          </a:xfrm>
          <a:prstGeom prst="rect">
            <a:avLst/>
          </a:prstGeom>
        </p:spPr>
      </p:pic>
      <p:sp>
        <p:nvSpPr>
          <p:cNvPr id="105" name="Freeform 14">
            <a:extLst>
              <a:ext uri="{FF2B5EF4-FFF2-40B4-BE49-F238E27FC236}">
                <a16:creationId xmlns:a16="http://schemas.microsoft.com/office/drawing/2014/main" id="{E9C8E55B-76A9-43C1-877F-F9C7077BB0D4}"/>
              </a:ext>
            </a:extLst>
          </p:cNvPr>
          <p:cNvSpPr>
            <a:spLocks/>
          </p:cNvSpPr>
          <p:nvPr/>
        </p:nvSpPr>
        <p:spPr bwMode="auto">
          <a:xfrm>
            <a:off x="1116011" y="3842876"/>
            <a:ext cx="2184757" cy="687510"/>
          </a:xfrm>
          <a:custGeom>
            <a:avLst/>
            <a:gdLst>
              <a:gd name="T0" fmla="*/ 3379 w 4032"/>
              <a:gd name="T1" fmla="*/ 1267 h 1267"/>
              <a:gd name="T2" fmla="*/ 3379 w 4032"/>
              <a:gd name="T3" fmla="*/ 1267 h 1267"/>
              <a:gd name="T4" fmla="*/ 4032 w 4032"/>
              <a:gd name="T5" fmla="*/ 0 h 1267"/>
              <a:gd name="T6" fmla="*/ 0 w 4032"/>
              <a:gd name="T7" fmla="*/ 0 h 1267"/>
              <a:gd name="T8" fmla="*/ 653 w 4032"/>
              <a:gd name="T9" fmla="*/ 1267 h 1267"/>
              <a:gd name="T10" fmla="*/ 3379 w 4032"/>
              <a:gd name="T11" fmla="*/ 1267 h 1267"/>
              <a:gd name="T12" fmla="*/ 3379 w 4032"/>
              <a:gd name="T13" fmla="*/ 1267 h 1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032" h="1267">
                <a:moveTo>
                  <a:pt x="3379" y="1267"/>
                </a:moveTo>
                <a:lnTo>
                  <a:pt x="3379" y="1267"/>
                </a:lnTo>
                <a:cubicBezTo>
                  <a:pt x="3568" y="854"/>
                  <a:pt x="3869" y="495"/>
                  <a:pt x="4032" y="0"/>
                </a:cubicBezTo>
                <a:lnTo>
                  <a:pt x="0" y="0"/>
                </a:lnTo>
                <a:cubicBezTo>
                  <a:pt x="163" y="495"/>
                  <a:pt x="464" y="854"/>
                  <a:pt x="653" y="1267"/>
                </a:cubicBezTo>
                <a:lnTo>
                  <a:pt x="3379" y="1267"/>
                </a:lnTo>
                <a:lnTo>
                  <a:pt x="3379" y="1267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B44C4C42-4A30-497F-8798-EDE41BD54777}"/>
              </a:ext>
            </a:extLst>
          </p:cNvPr>
          <p:cNvGrpSpPr/>
          <p:nvPr/>
        </p:nvGrpSpPr>
        <p:grpSpPr>
          <a:xfrm>
            <a:off x="6780802" y="2399836"/>
            <a:ext cx="5052398" cy="2539775"/>
            <a:chOff x="6780802" y="2399836"/>
            <a:chExt cx="5052398" cy="2539775"/>
          </a:xfrm>
        </p:grpSpPr>
        <p:sp>
          <p:nvSpPr>
            <p:cNvPr id="107" name="Rounded Rectangle 41">
              <a:extLst>
                <a:ext uri="{FF2B5EF4-FFF2-40B4-BE49-F238E27FC236}">
                  <a16:creationId xmlns:a16="http://schemas.microsoft.com/office/drawing/2014/main" id="{E74C14AB-121E-427D-B222-D32C43B2F6C8}"/>
                </a:ext>
              </a:extLst>
            </p:cNvPr>
            <p:cNvSpPr/>
            <p:nvPr/>
          </p:nvSpPr>
          <p:spPr>
            <a:xfrm>
              <a:off x="8576715" y="3387615"/>
              <a:ext cx="1440000" cy="1440000"/>
            </a:xfrm>
            <a:prstGeom prst="roundRect">
              <a:avLst/>
            </a:prstGeom>
            <a:solidFill>
              <a:srgbClr val="00B0A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ounded Rectangle 42">
              <a:extLst>
                <a:ext uri="{FF2B5EF4-FFF2-40B4-BE49-F238E27FC236}">
                  <a16:creationId xmlns:a16="http://schemas.microsoft.com/office/drawing/2014/main" id="{B77FD845-6BE2-436E-B9E3-01C8EDF1A403}"/>
                </a:ext>
              </a:extLst>
            </p:cNvPr>
            <p:cNvSpPr/>
            <p:nvPr/>
          </p:nvSpPr>
          <p:spPr>
            <a:xfrm>
              <a:off x="8576715" y="2893726"/>
              <a:ext cx="1440000" cy="1440000"/>
            </a:xfrm>
            <a:prstGeom prst="roundRect">
              <a:avLst/>
            </a:prstGeom>
            <a:solidFill>
              <a:srgbClr val="02677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ounded Rectangle 43">
              <a:extLst>
                <a:ext uri="{FF2B5EF4-FFF2-40B4-BE49-F238E27FC236}">
                  <a16:creationId xmlns:a16="http://schemas.microsoft.com/office/drawing/2014/main" id="{D1E767DF-76B0-4FF8-92E3-B7CD36B9B261}"/>
                </a:ext>
              </a:extLst>
            </p:cNvPr>
            <p:cNvSpPr/>
            <p:nvPr/>
          </p:nvSpPr>
          <p:spPr>
            <a:xfrm>
              <a:off x="8576715" y="2399836"/>
              <a:ext cx="1440000" cy="1440000"/>
            </a:xfrm>
            <a:prstGeom prst="roundRect">
              <a:avLst/>
            </a:prstGeom>
            <a:solidFill>
              <a:srgbClr val="1D3768"/>
            </a:solidFill>
            <a:ln>
              <a:noFill/>
            </a:ln>
            <a:effectLst/>
            <a:scene3d>
              <a:camera prst="perspectiveRelaxed" fov="2400000">
                <a:rot lat="19626000" lon="960000" rev="19092000"/>
              </a:camera>
              <a:lightRig rig="threePt" dir="t"/>
            </a:scene3d>
            <a:sp3d prstMaterial="matte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1F665FE5-251E-4EFC-ADDF-F08239C7874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86255" y="3775599"/>
              <a:ext cx="590460" cy="0"/>
            </a:xfrm>
            <a:prstGeom prst="line">
              <a:avLst/>
            </a:prstGeom>
            <a:ln w="28575" cmpd="sng">
              <a:solidFill>
                <a:srgbClr val="02677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53C8DCF-CF7E-48FF-BD0C-AD94FC8961B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016715" y="4310994"/>
              <a:ext cx="573494" cy="0"/>
            </a:xfrm>
            <a:prstGeom prst="line">
              <a:avLst/>
            </a:prstGeom>
            <a:ln w="28575" cmpd="sng">
              <a:solidFill>
                <a:srgbClr val="00B0A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Oval 12">
              <a:extLst>
                <a:ext uri="{FF2B5EF4-FFF2-40B4-BE49-F238E27FC236}">
                  <a16:creationId xmlns:a16="http://schemas.microsoft.com/office/drawing/2014/main" id="{1D3DDC37-D228-4E3B-84FE-A1FFC234D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1975" y="3929050"/>
              <a:ext cx="720000" cy="720000"/>
            </a:xfrm>
            <a:prstGeom prst="ellipse">
              <a:avLst/>
            </a:prstGeom>
            <a:solidFill>
              <a:srgbClr val="00B0A8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Oval 12">
              <a:extLst>
                <a:ext uri="{FF2B5EF4-FFF2-40B4-BE49-F238E27FC236}">
                  <a16:creationId xmlns:a16="http://schemas.microsoft.com/office/drawing/2014/main" id="{73C96806-8277-4EB6-9720-CAB680630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9229" y="3393650"/>
              <a:ext cx="720000" cy="720000"/>
            </a:xfrm>
            <a:prstGeom prst="ellipse">
              <a:avLst/>
            </a:prstGeom>
            <a:solidFill>
              <a:srgbClr val="02677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77A8FB9B-8859-49B8-8C35-0910F93B7A22}"/>
                </a:ext>
              </a:extLst>
            </p:cNvPr>
            <p:cNvSpPr/>
            <p:nvPr/>
          </p:nvSpPr>
          <p:spPr>
            <a:xfrm>
              <a:off x="9896347" y="4682618"/>
              <a:ext cx="1936853" cy="256993"/>
            </a:xfrm>
            <a:prstGeom prst="rect">
              <a:avLst/>
            </a:prstGeom>
          </p:spPr>
          <p:txBody>
            <a:bodyPr wrap="square" lIns="182880" rIns="182880" bIns="73152">
              <a:spAutoFit/>
            </a:bodyPr>
            <a:lstStyle/>
            <a:p>
              <a:pPr algn="ctr">
                <a:lnSpc>
                  <a:spcPct val="89000"/>
                </a:lnSpc>
              </a:pPr>
              <a:r>
                <a:rPr lang="da-DK" sz="1000" b="1">
                  <a:latin typeface="Verdana" panose="020B0604030504040204" pitchFamily="34" charset="0"/>
                  <a:ea typeface="Verdana" panose="020B0604030504040204" pitchFamily="34" charset="0"/>
                </a:rPr>
                <a:t>Konsekvenser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5F476C45-6AA0-4C76-85D7-80D1186B3F1D}"/>
                </a:ext>
              </a:extLst>
            </p:cNvPr>
            <p:cNvSpPr/>
            <p:nvPr/>
          </p:nvSpPr>
          <p:spPr>
            <a:xfrm>
              <a:off x="6780802" y="4152806"/>
              <a:ext cx="1936853" cy="256993"/>
            </a:xfrm>
            <a:prstGeom prst="rect">
              <a:avLst/>
            </a:prstGeom>
          </p:spPr>
          <p:txBody>
            <a:bodyPr wrap="square" lIns="182880" rIns="182880" bIns="73152">
              <a:spAutoFit/>
            </a:bodyPr>
            <a:lstStyle/>
            <a:p>
              <a:pPr algn="ctr">
                <a:lnSpc>
                  <a:spcPct val="89000"/>
                </a:lnSpc>
              </a:pPr>
              <a:r>
                <a:rPr lang="da-DK" sz="1000" b="1">
                  <a:latin typeface="Verdana" panose="020B0604030504040204" pitchFamily="34" charset="0"/>
                  <a:ea typeface="Verdana" panose="020B0604030504040204" pitchFamily="34" charset="0"/>
                </a:rPr>
                <a:t>Erfaringer</a:t>
              </a:r>
            </a:p>
          </p:txBody>
        </p:sp>
        <p:pic>
          <p:nvPicPr>
            <p:cNvPr id="116" name="Graphic 115" descr="Meeting outline">
              <a:extLst>
                <a:ext uri="{FF2B5EF4-FFF2-40B4-BE49-F238E27FC236}">
                  <a16:creationId xmlns:a16="http://schemas.microsoft.com/office/drawing/2014/main" id="{EBA1C345-3150-4AC4-840D-30EBF05EF4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468202" y="3469610"/>
              <a:ext cx="540000" cy="540000"/>
            </a:xfrm>
            <a:prstGeom prst="rect">
              <a:avLst/>
            </a:prstGeom>
          </p:spPr>
        </p:pic>
        <p:pic>
          <p:nvPicPr>
            <p:cNvPr id="117" name="Graphic 116" descr="Downward trend graph outline">
              <a:extLst>
                <a:ext uri="{FF2B5EF4-FFF2-40B4-BE49-F238E27FC236}">
                  <a16:creationId xmlns:a16="http://schemas.microsoft.com/office/drawing/2014/main" id="{EF9F622F-36B4-43AF-9886-21745056543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10571975" y="4020744"/>
              <a:ext cx="540000" cy="540000"/>
            </a:xfrm>
            <a:prstGeom prst="rect">
              <a:avLst/>
            </a:prstGeom>
          </p:spPr>
        </p:pic>
        <p:pic>
          <p:nvPicPr>
            <p:cNvPr id="118" name="Graphic 117">
              <a:extLst>
                <a:ext uri="{FF2B5EF4-FFF2-40B4-BE49-F238E27FC236}">
                  <a16:creationId xmlns:a16="http://schemas.microsoft.com/office/drawing/2014/main" id="{4DE19422-3550-48C0-A267-FC68809C27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 rot="2220939">
              <a:off x="9053669" y="2746923"/>
              <a:ext cx="466597" cy="7858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04051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raphic 58">
            <a:extLst>
              <a:ext uri="{FF2B5EF4-FFF2-40B4-BE49-F238E27FC236}">
                <a16:creationId xmlns:a16="http://schemas.microsoft.com/office/drawing/2014/main" id="{069237E2-E84A-4BF5-B397-CA416BED68A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54782" y="1613181"/>
            <a:ext cx="1909649" cy="328288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9539CF4B-8A7C-486B-9A90-E2ECB55A0B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16982" y="1613181"/>
            <a:ext cx="1909649" cy="3282880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6DE59B96-5559-4DCD-A8B9-A2992301442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66482" y="1613181"/>
            <a:ext cx="1909649" cy="328288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8A26FE-35D5-4A1E-9280-B20AF5F7F1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17982" y="1613181"/>
            <a:ext cx="1909649" cy="328288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72768F-F1DA-4D5C-A9F5-AA4CCD92CF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72768F-F1DA-4D5C-A9F5-AA4CCD92C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868A1E-5973-4D24-A257-630197F47A3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205" y="0"/>
            <a:ext cx="158713" cy="15871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Aft>
                <a:spcPct val="0"/>
              </a:spcAft>
            </a:pPr>
            <a:endParaRPr lang="da-DK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8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246989" y="13064804"/>
            <a:ext cx="479827" cy="155575"/>
          </a:xfrm>
        </p:spPr>
        <p:txBody>
          <a:bodyPr/>
          <a:lstStyle/>
          <a:p>
            <a:fld id="{31421AFA-3AE7-4CEA-BC9B-447859BED57B}" type="slidenum">
              <a:rPr lang="da-DK" smtClean="0">
                <a:ea typeface="Verdana" panose="020B0604030504040204" pitchFamily="34" charset="0"/>
                <a:cs typeface="Verdana" panose="020B0604030504040204" pitchFamily="34" charset="0"/>
              </a:rPr>
              <a:pPr/>
              <a:t>18</a:t>
            </a:fld>
            <a:endParaRPr lang="da-DK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3" name="Title 4">
            <a:extLst>
              <a:ext uri="{FF2B5EF4-FFF2-40B4-BE49-F238E27FC236}">
                <a16:creationId xmlns:a16="http://schemas.microsoft.com/office/drawing/2014/main" id="{0BC4FE25-2F1F-4C65-9F2C-C41299D1BD5C}"/>
              </a:ext>
            </a:extLst>
          </p:cNvPr>
          <p:cNvSpPr txBox="1">
            <a:spLocks/>
          </p:cNvSpPr>
          <p:nvPr/>
        </p:nvSpPr>
        <p:spPr>
          <a:xfrm>
            <a:off x="358775" y="391030"/>
            <a:ext cx="11351004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I Nederlandene, Tyskland og Sverige sættes strategisk retning og prioritering i tæt samarbejde med industrien og </a:t>
            </a:r>
            <a:r>
              <a:rPr lang="da-DK" dirty="0" err="1"/>
              <a:t>RTO’er</a:t>
            </a:r>
            <a:r>
              <a:rPr lang="da-DK" dirty="0"/>
              <a:t>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076555B-661C-4996-89C8-2B921CEC1916}"/>
              </a:ext>
            </a:extLst>
          </p:cNvPr>
          <p:cNvSpPr txBox="1"/>
          <p:nvPr/>
        </p:nvSpPr>
        <p:spPr bwMode="auto">
          <a:xfrm>
            <a:off x="838164" y="2773646"/>
            <a:ext cx="2957356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da-DK" sz="6600" b="1">
                <a:solidFill>
                  <a:schemeClr val="bg1"/>
                </a:solidFill>
                <a:cs typeface="Arial" panose="020B0604020202020204" pitchFamily="34" charset="0"/>
              </a:rPr>
              <a:t>1</a:t>
            </a:r>
          </a:p>
        </p:txBody>
      </p:sp>
      <p:pic>
        <p:nvPicPr>
          <p:cNvPr id="42" name="Graphic 41" descr="Chess pieces outline">
            <a:extLst>
              <a:ext uri="{FF2B5EF4-FFF2-40B4-BE49-F238E27FC236}">
                <a16:creationId xmlns:a16="http://schemas.microsoft.com/office/drawing/2014/main" id="{6F9CC6C3-048B-42C6-8038-46750DCCA9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251088" y="1837561"/>
            <a:ext cx="940137" cy="940137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E07E9BBA-33E9-4A8D-B523-4C501BF029CE}"/>
              </a:ext>
            </a:extLst>
          </p:cNvPr>
          <p:cNvSpPr txBox="1"/>
          <p:nvPr/>
        </p:nvSpPr>
        <p:spPr bwMode="auto">
          <a:xfrm>
            <a:off x="3153343" y="2773646"/>
            <a:ext cx="3029625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da-DK" sz="6600" b="1">
                <a:solidFill>
                  <a:schemeClr val="bg1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E90E07B-F2A8-432F-A8AF-2C5D0E9F5E4B}"/>
              </a:ext>
            </a:extLst>
          </p:cNvPr>
          <p:cNvSpPr txBox="1"/>
          <p:nvPr/>
        </p:nvSpPr>
        <p:spPr bwMode="auto">
          <a:xfrm>
            <a:off x="6262936" y="2773646"/>
            <a:ext cx="153484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da-DK" sz="6600" b="1">
                <a:solidFill>
                  <a:schemeClr val="bg1"/>
                </a:solidFill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613E58C-17AE-435C-86D2-26138E20732F}"/>
              </a:ext>
            </a:extLst>
          </p:cNvPr>
          <p:cNvSpPr txBox="1"/>
          <p:nvPr/>
        </p:nvSpPr>
        <p:spPr bwMode="auto">
          <a:xfrm>
            <a:off x="8720829" y="2773646"/>
            <a:ext cx="1180542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da-DK" sz="6600" b="1">
                <a:solidFill>
                  <a:schemeClr val="bg1"/>
                </a:solidFill>
                <a:cs typeface="Arial" panose="020B0604020202020204" pitchFamily="34" charset="0"/>
              </a:rPr>
              <a:t>4</a:t>
            </a:r>
          </a:p>
        </p:txBody>
      </p:sp>
      <p:pic>
        <p:nvPicPr>
          <p:cNvPr id="55" name="Graphic 54" descr="Social network outline">
            <a:extLst>
              <a:ext uri="{FF2B5EF4-FFF2-40B4-BE49-F238E27FC236}">
                <a16:creationId xmlns:a16="http://schemas.microsoft.com/office/drawing/2014/main" id="{CECB881E-C371-4CC6-A96C-28713D51423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914674" y="1740798"/>
            <a:ext cx="1080000" cy="1080000"/>
          </a:xfrm>
          <a:prstGeom prst="rect">
            <a:avLst/>
          </a:prstGeom>
        </p:spPr>
      </p:pic>
      <p:sp>
        <p:nvSpPr>
          <p:cNvPr id="56" name="Content Placeholder 3">
            <a:extLst>
              <a:ext uri="{FF2B5EF4-FFF2-40B4-BE49-F238E27FC236}">
                <a16:creationId xmlns:a16="http://schemas.microsoft.com/office/drawing/2014/main" id="{74C65B24-950A-4919-B5E3-70509E085F5D}"/>
              </a:ext>
            </a:extLst>
          </p:cNvPr>
          <p:cNvSpPr txBox="1">
            <a:spLocks/>
          </p:cNvSpPr>
          <p:nvPr/>
        </p:nvSpPr>
        <p:spPr>
          <a:xfrm>
            <a:off x="1362017" y="5111411"/>
            <a:ext cx="190965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0500" indent="-203200" algn="l" defTabSz="457200" rtl="0" eaLnBrk="1" fontAlgn="base" hangingPunct="1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ＭＳ Ｐゴシック" pitchFamily="-111" charset="-128"/>
              </a:defRPr>
            </a:lvl1pPr>
            <a:lvl2pPr marL="571500" indent="-177800" algn="l" defTabSz="457200" rtl="0" eaLnBrk="1" fontAlgn="base" hangingPunct="1">
              <a:lnSpc>
                <a:spcPts val="192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6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2pPr>
            <a:lvl3pPr marL="914400" indent="-152400" algn="l" defTabSz="457200" rtl="0" eaLnBrk="1" fontAlgn="base" hangingPunct="1">
              <a:lnSpc>
                <a:spcPts val="167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3pPr>
            <a:lvl4pPr marL="1254125" indent="-161925" algn="l" defTabSz="457200" rtl="0" eaLnBrk="1" fontAlgn="base" hangingPunct="1">
              <a:lnSpc>
                <a:spcPts val="1438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4pPr>
            <a:lvl5pPr marL="1566863" indent="-169863" algn="l" defTabSz="457200" rtl="0" eaLnBrk="1" fontAlgn="base" hangingPunct="1">
              <a:lnSpc>
                <a:spcPts val="1200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a-DK" sz="2000" b="1">
                <a:latin typeface="+mn-lt"/>
                <a:cs typeface="Arial" panose="020B0604020202020204" pitchFamily="34" charset="0"/>
              </a:rPr>
              <a:t>Nationale 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a-DK" sz="2000" b="1">
                <a:latin typeface="+mn-lt"/>
                <a:cs typeface="Arial" panose="020B0604020202020204" pitchFamily="34" charset="0"/>
              </a:rPr>
              <a:t>strategier</a:t>
            </a:r>
            <a:endParaRPr lang="da-DK" sz="1600" b="1">
              <a:latin typeface="+mn-lt"/>
              <a:cs typeface="Arial" panose="020B0604020202020204" pitchFamily="34" charset="0"/>
            </a:endParaRPr>
          </a:p>
        </p:txBody>
      </p:sp>
      <p:sp>
        <p:nvSpPr>
          <p:cNvPr id="62" name="Content Placeholder 3">
            <a:extLst>
              <a:ext uri="{FF2B5EF4-FFF2-40B4-BE49-F238E27FC236}">
                <a16:creationId xmlns:a16="http://schemas.microsoft.com/office/drawing/2014/main" id="{93811E62-777E-4EEE-B0DD-8363C6ECAEDB}"/>
              </a:ext>
            </a:extLst>
          </p:cNvPr>
          <p:cNvSpPr txBox="1">
            <a:spLocks/>
          </p:cNvSpPr>
          <p:nvPr/>
        </p:nvSpPr>
        <p:spPr>
          <a:xfrm flipH="1">
            <a:off x="2916325" y="5244819"/>
            <a:ext cx="35036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0500" indent="-203200" algn="l" defTabSz="457200" rtl="0" eaLnBrk="1" fontAlgn="base" hangingPunct="1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ＭＳ Ｐゴシック" pitchFamily="-111" charset="-128"/>
              </a:defRPr>
            </a:lvl1pPr>
            <a:lvl2pPr marL="571500" indent="-177800" algn="l" defTabSz="457200" rtl="0" eaLnBrk="1" fontAlgn="base" hangingPunct="1">
              <a:lnSpc>
                <a:spcPts val="192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6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2pPr>
            <a:lvl3pPr marL="914400" indent="-152400" algn="l" defTabSz="457200" rtl="0" eaLnBrk="1" fontAlgn="base" hangingPunct="1">
              <a:lnSpc>
                <a:spcPts val="167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3pPr>
            <a:lvl4pPr marL="1254125" indent="-161925" algn="l" defTabSz="457200" rtl="0" eaLnBrk="1" fontAlgn="base" hangingPunct="1">
              <a:lnSpc>
                <a:spcPts val="1438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4pPr>
            <a:lvl5pPr marL="1566863" indent="-169863" algn="l" defTabSz="457200" rtl="0" eaLnBrk="1" fontAlgn="base" hangingPunct="1">
              <a:lnSpc>
                <a:spcPts val="1200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a-DK" sz="2000" b="1">
                <a:latin typeface="+mn-lt"/>
                <a:cs typeface="Arial" panose="020B0604020202020204" pitchFamily="34" charset="0"/>
              </a:rPr>
              <a:t>Finansiering</a:t>
            </a:r>
          </a:p>
        </p:txBody>
      </p:sp>
      <p:sp>
        <p:nvSpPr>
          <p:cNvPr id="64" name="Content Placeholder 3">
            <a:extLst>
              <a:ext uri="{FF2B5EF4-FFF2-40B4-BE49-F238E27FC236}">
                <a16:creationId xmlns:a16="http://schemas.microsoft.com/office/drawing/2014/main" id="{F783F125-ED73-4782-8575-C9F65633DAFA}"/>
              </a:ext>
            </a:extLst>
          </p:cNvPr>
          <p:cNvSpPr txBox="1">
            <a:spLocks/>
          </p:cNvSpPr>
          <p:nvPr/>
        </p:nvSpPr>
        <p:spPr>
          <a:xfrm flipH="1">
            <a:off x="7071806" y="5213137"/>
            <a:ext cx="463797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0500" indent="-203200" algn="l" defTabSz="457200" rtl="0" eaLnBrk="1" fontAlgn="base" hangingPunct="1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ＭＳ Ｐゴシック" pitchFamily="-111" charset="-128"/>
              </a:defRPr>
            </a:lvl1pPr>
            <a:lvl2pPr marL="571500" indent="-177800" algn="l" defTabSz="457200" rtl="0" eaLnBrk="1" fontAlgn="base" hangingPunct="1">
              <a:lnSpc>
                <a:spcPts val="192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6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2pPr>
            <a:lvl3pPr marL="914400" indent="-152400" algn="l" defTabSz="457200" rtl="0" eaLnBrk="1" fontAlgn="base" hangingPunct="1">
              <a:lnSpc>
                <a:spcPts val="167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3pPr>
            <a:lvl4pPr marL="1254125" indent="-161925" algn="l" defTabSz="457200" rtl="0" eaLnBrk="1" fontAlgn="base" hangingPunct="1">
              <a:lnSpc>
                <a:spcPts val="1438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4pPr>
            <a:lvl5pPr marL="1566863" indent="-169863" algn="l" defTabSz="457200" rtl="0" eaLnBrk="1" fontAlgn="base" hangingPunct="1">
              <a:lnSpc>
                <a:spcPts val="1200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a-DK" sz="2000" b="1">
                <a:latin typeface="+mn-lt"/>
                <a:cs typeface="Arial" panose="020B0604020202020204" pitchFamily="34" charset="0"/>
              </a:rPr>
              <a:t>Adgang til 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a-DK" sz="2000" b="1">
                <a:latin typeface="+mn-lt"/>
                <a:cs typeface="Arial" panose="020B0604020202020204" pitchFamily="34" charset="0"/>
              </a:rPr>
              <a:t>testfaciliteter</a:t>
            </a:r>
          </a:p>
        </p:txBody>
      </p:sp>
      <p:sp>
        <p:nvSpPr>
          <p:cNvPr id="65" name="Content Placeholder 3">
            <a:extLst>
              <a:ext uri="{FF2B5EF4-FFF2-40B4-BE49-F238E27FC236}">
                <a16:creationId xmlns:a16="http://schemas.microsoft.com/office/drawing/2014/main" id="{17B79F4E-36E6-4E53-A3E9-A8FD6E64AB10}"/>
              </a:ext>
            </a:extLst>
          </p:cNvPr>
          <p:cNvSpPr txBox="1">
            <a:spLocks/>
          </p:cNvSpPr>
          <p:nvPr/>
        </p:nvSpPr>
        <p:spPr>
          <a:xfrm>
            <a:off x="4961842" y="5216593"/>
            <a:ext cx="4137029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0500" indent="-203200" algn="l" defTabSz="457200" rtl="0" eaLnBrk="1" fontAlgn="base" hangingPunct="1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ＭＳ Ｐゴシック" pitchFamily="-111" charset="-128"/>
              </a:defRPr>
            </a:lvl1pPr>
            <a:lvl2pPr marL="571500" indent="-177800" algn="l" defTabSz="457200" rtl="0" eaLnBrk="1" fontAlgn="base" hangingPunct="1">
              <a:lnSpc>
                <a:spcPts val="192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6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2pPr>
            <a:lvl3pPr marL="914400" indent="-152400" algn="l" defTabSz="457200" rtl="0" eaLnBrk="1" fontAlgn="base" hangingPunct="1">
              <a:lnSpc>
                <a:spcPts val="167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3pPr>
            <a:lvl4pPr marL="1254125" indent="-161925" algn="l" defTabSz="457200" rtl="0" eaLnBrk="1" fontAlgn="base" hangingPunct="1">
              <a:lnSpc>
                <a:spcPts val="1438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4pPr>
            <a:lvl5pPr marL="1566863" indent="-169863" algn="l" defTabSz="457200" rtl="0" eaLnBrk="1" fontAlgn="base" hangingPunct="1">
              <a:lnSpc>
                <a:spcPts val="1200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a-DK" sz="2000" b="1">
                <a:latin typeface="+mn-lt"/>
                <a:cs typeface="Arial" panose="020B0604020202020204" pitchFamily="34" charset="0"/>
              </a:rPr>
              <a:t>Centrale </a:t>
            </a:r>
          </a:p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a-DK" sz="2000" b="1">
                <a:latin typeface="+mn-lt"/>
                <a:cs typeface="Arial" panose="020B0604020202020204" pitchFamily="34" charset="0"/>
              </a:rPr>
              <a:t>aktører</a:t>
            </a:r>
          </a:p>
        </p:txBody>
      </p:sp>
      <p:sp>
        <p:nvSpPr>
          <p:cNvPr id="66" name="Content Placeholder 3">
            <a:extLst>
              <a:ext uri="{FF2B5EF4-FFF2-40B4-BE49-F238E27FC236}">
                <a16:creationId xmlns:a16="http://schemas.microsoft.com/office/drawing/2014/main" id="{3DD4F089-D93A-4A18-B959-58D0A9BFEF41}"/>
              </a:ext>
            </a:extLst>
          </p:cNvPr>
          <p:cNvSpPr txBox="1">
            <a:spLocks/>
          </p:cNvSpPr>
          <p:nvPr/>
        </p:nvSpPr>
        <p:spPr>
          <a:xfrm flipH="1">
            <a:off x="37115362" y="7819512"/>
            <a:ext cx="4637973" cy="2153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0500" indent="-203200" algn="l" defTabSz="457200" rtl="0" eaLnBrk="1" fontAlgn="base" hangingPunct="1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ＭＳ Ｐゴシック" pitchFamily="-111" charset="-128"/>
              </a:defRPr>
            </a:lvl1pPr>
            <a:lvl2pPr marL="571500" indent="-177800" algn="l" defTabSz="457200" rtl="0" eaLnBrk="1" fontAlgn="base" hangingPunct="1">
              <a:lnSpc>
                <a:spcPts val="192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6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2pPr>
            <a:lvl3pPr marL="914400" indent="-152400" algn="l" defTabSz="457200" rtl="0" eaLnBrk="1" fontAlgn="base" hangingPunct="1">
              <a:lnSpc>
                <a:spcPts val="1675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3pPr>
            <a:lvl4pPr marL="1254125" indent="-161925" algn="l" defTabSz="457200" rtl="0" eaLnBrk="1" fontAlgn="base" hangingPunct="1">
              <a:lnSpc>
                <a:spcPts val="1438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4pPr>
            <a:lvl5pPr marL="1566863" indent="-169863" algn="l" defTabSz="457200" rtl="0" eaLnBrk="1" fontAlgn="base" hangingPunct="1">
              <a:lnSpc>
                <a:spcPts val="1200"/>
              </a:lnSpc>
              <a:spcBef>
                <a:spcPct val="0"/>
              </a:spcBef>
              <a:spcAft>
                <a:spcPts val="15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da-DK" sz="1400" b="1">
                <a:latin typeface="+mn-lt"/>
                <a:cs typeface="Arial" panose="020B0604020202020204" pitchFamily="34" charset="0"/>
              </a:rPr>
              <a:t>Adgang til testfaciliteter</a:t>
            </a:r>
          </a:p>
        </p:txBody>
      </p:sp>
      <p:pic>
        <p:nvPicPr>
          <p:cNvPr id="70" name="Graphic 69">
            <a:extLst>
              <a:ext uri="{FF2B5EF4-FFF2-40B4-BE49-F238E27FC236}">
                <a16:creationId xmlns:a16="http://schemas.microsoft.com/office/drawing/2014/main" id="{E0CD9009-DFDE-4805-B65B-86C94A1C661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523810" y="1963949"/>
            <a:ext cx="417102" cy="702488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0255D568-5D71-4135-82F6-9C64D50CFA8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714379" y="1871050"/>
            <a:ext cx="656883" cy="80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85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9123120-DD0A-4495-8D0A-C6430DD518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9123120-DD0A-4495-8D0A-C6430DD518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/>
          <p:cNvSpPr/>
          <p:nvPr/>
        </p:nvSpPr>
        <p:spPr>
          <a:xfrm>
            <a:off x="4281479" y="2268509"/>
            <a:ext cx="2880000" cy="288000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/>
          <p:cNvSpPr/>
          <p:nvPr/>
        </p:nvSpPr>
        <p:spPr>
          <a:xfrm rot="10800000">
            <a:off x="4282384" y="2268509"/>
            <a:ext cx="2880000" cy="2880000"/>
          </a:xfrm>
          <a:prstGeom prst="arc">
            <a:avLst>
              <a:gd name="adj1" fmla="val 10766207"/>
              <a:gd name="adj2" fmla="val 42003"/>
            </a:avLst>
          </a:prstGeom>
          <a:ln w="69850" cap="rnd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/>
          <p:cNvSpPr/>
          <p:nvPr/>
        </p:nvSpPr>
        <p:spPr>
          <a:xfrm>
            <a:off x="1416475" y="2225127"/>
            <a:ext cx="2880000" cy="288000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/>
          <p:cNvSpPr/>
          <p:nvPr/>
        </p:nvSpPr>
        <p:spPr>
          <a:xfrm>
            <a:off x="1416474" y="2225128"/>
            <a:ext cx="2880000" cy="2880000"/>
          </a:xfrm>
          <a:prstGeom prst="arc">
            <a:avLst>
              <a:gd name="adj1" fmla="val 10769546"/>
              <a:gd name="adj2" fmla="val 21549802"/>
            </a:avLst>
          </a:prstGeom>
          <a:ln w="69850" cap="flat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7153016" y="2387056"/>
            <a:ext cx="2880000" cy="288000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c 8"/>
          <p:cNvSpPr/>
          <p:nvPr/>
        </p:nvSpPr>
        <p:spPr>
          <a:xfrm>
            <a:off x="7161480" y="2387054"/>
            <a:ext cx="2880000" cy="2880000"/>
          </a:xfrm>
          <a:prstGeom prst="arc">
            <a:avLst>
              <a:gd name="adj1" fmla="val 10766207"/>
              <a:gd name="adj2" fmla="val 0"/>
            </a:avLst>
          </a:prstGeom>
          <a:ln w="69850" cap="rnd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149"/>
          <p:cNvSpPr>
            <a:spLocks noEditPoints="1"/>
          </p:cNvSpPr>
          <p:nvPr/>
        </p:nvSpPr>
        <p:spPr bwMode="auto">
          <a:xfrm>
            <a:off x="5278334" y="3161231"/>
            <a:ext cx="400546" cy="503896"/>
          </a:xfrm>
          <a:custGeom>
            <a:avLst/>
            <a:gdLst>
              <a:gd name="T0" fmla="*/ 463 w 467"/>
              <a:gd name="T1" fmla="*/ 291 h 569"/>
              <a:gd name="T2" fmla="*/ 452 w 467"/>
              <a:gd name="T3" fmla="*/ 291 h 569"/>
              <a:gd name="T4" fmla="*/ 359 w 467"/>
              <a:gd name="T5" fmla="*/ 291 h 569"/>
              <a:gd name="T6" fmla="*/ 348 w 467"/>
              <a:gd name="T7" fmla="*/ 291 h 569"/>
              <a:gd name="T8" fmla="*/ 394 w 467"/>
              <a:gd name="T9" fmla="*/ 233 h 569"/>
              <a:gd name="T10" fmla="*/ 348 w 467"/>
              <a:gd name="T11" fmla="*/ 176 h 569"/>
              <a:gd name="T12" fmla="*/ 406 w 467"/>
              <a:gd name="T13" fmla="*/ 222 h 569"/>
              <a:gd name="T14" fmla="*/ 463 w 467"/>
              <a:gd name="T15" fmla="*/ 176 h 569"/>
              <a:gd name="T16" fmla="*/ 417 w 467"/>
              <a:gd name="T17" fmla="*/ 233 h 569"/>
              <a:gd name="T18" fmla="*/ 340 w 467"/>
              <a:gd name="T19" fmla="*/ 3 h 569"/>
              <a:gd name="T20" fmla="*/ 282 w 467"/>
              <a:gd name="T21" fmla="*/ 50 h 569"/>
              <a:gd name="T22" fmla="*/ 224 w 467"/>
              <a:gd name="T23" fmla="*/ 3 h 569"/>
              <a:gd name="T24" fmla="*/ 271 w 467"/>
              <a:gd name="T25" fmla="*/ 61 h 569"/>
              <a:gd name="T26" fmla="*/ 224 w 467"/>
              <a:gd name="T27" fmla="*/ 119 h 569"/>
              <a:gd name="T28" fmla="*/ 236 w 467"/>
              <a:gd name="T29" fmla="*/ 119 h 569"/>
              <a:gd name="T30" fmla="*/ 328 w 467"/>
              <a:gd name="T31" fmla="*/ 119 h 569"/>
              <a:gd name="T32" fmla="*/ 340 w 467"/>
              <a:gd name="T33" fmla="*/ 119 h 569"/>
              <a:gd name="T34" fmla="*/ 293 w 467"/>
              <a:gd name="T35" fmla="*/ 61 h 569"/>
              <a:gd name="T36" fmla="*/ 340 w 467"/>
              <a:gd name="T37" fmla="*/ 3 h 569"/>
              <a:gd name="T38" fmla="*/ 108 w 467"/>
              <a:gd name="T39" fmla="*/ 348 h 569"/>
              <a:gd name="T40" fmla="*/ 15 w 467"/>
              <a:gd name="T41" fmla="*/ 348 h 569"/>
              <a:gd name="T42" fmla="*/ 3 w 467"/>
              <a:gd name="T43" fmla="*/ 359 h 569"/>
              <a:gd name="T44" fmla="*/ 3 w 467"/>
              <a:gd name="T45" fmla="*/ 452 h 569"/>
              <a:gd name="T46" fmla="*/ 9 w 467"/>
              <a:gd name="T47" fmla="*/ 466 h 569"/>
              <a:gd name="T48" fmla="*/ 61 w 467"/>
              <a:gd name="T49" fmla="*/ 417 h 569"/>
              <a:gd name="T50" fmla="*/ 113 w 467"/>
              <a:gd name="T51" fmla="*/ 466 h 569"/>
              <a:gd name="T52" fmla="*/ 119 w 467"/>
              <a:gd name="T53" fmla="*/ 452 h 569"/>
              <a:gd name="T54" fmla="*/ 119 w 467"/>
              <a:gd name="T55" fmla="*/ 359 h 569"/>
              <a:gd name="T56" fmla="*/ 332 w 467"/>
              <a:gd name="T57" fmla="*/ 509 h 569"/>
              <a:gd name="T58" fmla="*/ 212 w 467"/>
              <a:gd name="T59" fmla="*/ 509 h 569"/>
              <a:gd name="T60" fmla="*/ 264 w 467"/>
              <a:gd name="T61" fmla="*/ 374 h 569"/>
              <a:gd name="T62" fmla="*/ 42 w 467"/>
              <a:gd name="T63" fmla="*/ 254 h 569"/>
              <a:gd name="T64" fmla="*/ 26 w 467"/>
              <a:gd name="T65" fmla="*/ 254 h 569"/>
              <a:gd name="T66" fmla="*/ 26 w 467"/>
              <a:gd name="T67" fmla="*/ 131 h 569"/>
              <a:gd name="T68" fmla="*/ 27 w 467"/>
              <a:gd name="T69" fmla="*/ 130 h 569"/>
              <a:gd name="T70" fmla="*/ 28 w 467"/>
              <a:gd name="T71" fmla="*/ 128 h 569"/>
              <a:gd name="T72" fmla="*/ 30 w 467"/>
              <a:gd name="T73" fmla="*/ 126 h 569"/>
              <a:gd name="T74" fmla="*/ 32 w 467"/>
              <a:gd name="T75" fmla="*/ 125 h 569"/>
              <a:gd name="T76" fmla="*/ 34 w 467"/>
              <a:gd name="T77" fmla="*/ 125 h 569"/>
              <a:gd name="T78" fmla="*/ 34 w 467"/>
              <a:gd name="T79" fmla="*/ 125 h 569"/>
              <a:gd name="T80" fmla="*/ 34 w 467"/>
              <a:gd name="T81" fmla="*/ 125 h 569"/>
              <a:gd name="T82" fmla="*/ 163 w 467"/>
              <a:gd name="T83" fmla="*/ 133 h 569"/>
              <a:gd name="T84" fmla="*/ 53 w 467"/>
              <a:gd name="T85" fmla="*/ 141 h 569"/>
              <a:gd name="T86" fmla="*/ 280 w 467"/>
              <a:gd name="T87" fmla="*/ 371 h 569"/>
              <a:gd name="T88" fmla="*/ 332 w 467"/>
              <a:gd name="T89" fmla="*/ 509 h 569"/>
              <a:gd name="T90" fmla="*/ 272 w 467"/>
              <a:gd name="T91" fmla="*/ 466 h 569"/>
              <a:gd name="T92" fmla="*/ 272 w 467"/>
              <a:gd name="T93" fmla="*/ 553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7" h="569">
                <a:moveTo>
                  <a:pt x="463" y="280"/>
                </a:moveTo>
                <a:cubicBezTo>
                  <a:pt x="467" y="283"/>
                  <a:pt x="467" y="288"/>
                  <a:pt x="463" y="291"/>
                </a:cubicBezTo>
                <a:cubicBezTo>
                  <a:pt x="462" y="293"/>
                  <a:pt x="460" y="294"/>
                  <a:pt x="458" y="294"/>
                </a:cubicBezTo>
                <a:cubicBezTo>
                  <a:pt x="456" y="294"/>
                  <a:pt x="454" y="293"/>
                  <a:pt x="452" y="291"/>
                </a:cubicBezTo>
                <a:cubicBezTo>
                  <a:pt x="406" y="245"/>
                  <a:pt x="406" y="245"/>
                  <a:pt x="406" y="245"/>
                </a:cubicBezTo>
                <a:cubicBezTo>
                  <a:pt x="359" y="291"/>
                  <a:pt x="359" y="291"/>
                  <a:pt x="359" y="291"/>
                </a:cubicBezTo>
                <a:cubicBezTo>
                  <a:pt x="358" y="293"/>
                  <a:pt x="356" y="294"/>
                  <a:pt x="354" y="294"/>
                </a:cubicBezTo>
                <a:cubicBezTo>
                  <a:pt x="352" y="294"/>
                  <a:pt x="349" y="293"/>
                  <a:pt x="348" y="291"/>
                </a:cubicBezTo>
                <a:cubicBezTo>
                  <a:pt x="345" y="288"/>
                  <a:pt x="345" y="283"/>
                  <a:pt x="348" y="280"/>
                </a:cubicBezTo>
                <a:cubicBezTo>
                  <a:pt x="394" y="233"/>
                  <a:pt x="394" y="233"/>
                  <a:pt x="394" y="233"/>
                </a:cubicBezTo>
                <a:cubicBezTo>
                  <a:pt x="348" y="187"/>
                  <a:pt x="348" y="187"/>
                  <a:pt x="348" y="187"/>
                </a:cubicBezTo>
                <a:cubicBezTo>
                  <a:pt x="345" y="184"/>
                  <a:pt x="345" y="179"/>
                  <a:pt x="348" y="176"/>
                </a:cubicBezTo>
                <a:cubicBezTo>
                  <a:pt x="351" y="173"/>
                  <a:pt x="356" y="173"/>
                  <a:pt x="359" y="176"/>
                </a:cubicBezTo>
                <a:cubicBezTo>
                  <a:pt x="406" y="222"/>
                  <a:pt x="406" y="222"/>
                  <a:pt x="406" y="222"/>
                </a:cubicBezTo>
                <a:cubicBezTo>
                  <a:pt x="452" y="176"/>
                  <a:pt x="452" y="176"/>
                  <a:pt x="452" y="176"/>
                </a:cubicBezTo>
                <a:cubicBezTo>
                  <a:pt x="455" y="173"/>
                  <a:pt x="460" y="173"/>
                  <a:pt x="463" y="176"/>
                </a:cubicBezTo>
                <a:cubicBezTo>
                  <a:pt x="467" y="179"/>
                  <a:pt x="467" y="184"/>
                  <a:pt x="463" y="187"/>
                </a:cubicBezTo>
                <a:cubicBezTo>
                  <a:pt x="417" y="233"/>
                  <a:pt x="417" y="233"/>
                  <a:pt x="417" y="233"/>
                </a:cubicBezTo>
                <a:lnTo>
                  <a:pt x="463" y="280"/>
                </a:lnTo>
                <a:close/>
                <a:moveTo>
                  <a:pt x="340" y="3"/>
                </a:moveTo>
                <a:cubicBezTo>
                  <a:pt x="337" y="0"/>
                  <a:pt x="332" y="0"/>
                  <a:pt x="328" y="3"/>
                </a:cubicBezTo>
                <a:cubicBezTo>
                  <a:pt x="282" y="50"/>
                  <a:pt x="282" y="50"/>
                  <a:pt x="282" y="50"/>
                </a:cubicBezTo>
                <a:cubicBezTo>
                  <a:pt x="236" y="3"/>
                  <a:pt x="236" y="3"/>
                  <a:pt x="236" y="3"/>
                </a:cubicBezTo>
                <a:cubicBezTo>
                  <a:pt x="232" y="0"/>
                  <a:pt x="227" y="0"/>
                  <a:pt x="224" y="3"/>
                </a:cubicBezTo>
                <a:cubicBezTo>
                  <a:pt x="221" y="6"/>
                  <a:pt x="221" y="12"/>
                  <a:pt x="224" y="15"/>
                </a:cubicBezTo>
                <a:cubicBezTo>
                  <a:pt x="271" y="61"/>
                  <a:pt x="271" y="61"/>
                  <a:pt x="271" y="61"/>
                </a:cubicBezTo>
                <a:cubicBezTo>
                  <a:pt x="224" y="108"/>
                  <a:pt x="224" y="108"/>
                  <a:pt x="224" y="108"/>
                </a:cubicBezTo>
                <a:cubicBezTo>
                  <a:pt x="221" y="111"/>
                  <a:pt x="221" y="116"/>
                  <a:pt x="224" y="119"/>
                </a:cubicBezTo>
                <a:cubicBezTo>
                  <a:pt x="226" y="120"/>
                  <a:pt x="228" y="121"/>
                  <a:pt x="230" y="121"/>
                </a:cubicBezTo>
                <a:cubicBezTo>
                  <a:pt x="232" y="121"/>
                  <a:pt x="234" y="120"/>
                  <a:pt x="236" y="119"/>
                </a:cubicBezTo>
                <a:cubicBezTo>
                  <a:pt x="282" y="72"/>
                  <a:pt x="282" y="72"/>
                  <a:pt x="282" y="72"/>
                </a:cubicBezTo>
                <a:cubicBezTo>
                  <a:pt x="328" y="119"/>
                  <a:pt x="328" y="119"/>
                  <a:pt x="328" y="119"/>
                </a:cubicBezTo>
                <a:cubicBezTo>
                  <a:pt x="330" y="120"/>
                  <a:pt x="332" y="121"/>
                  <a:pt x="334" y="121"/>
                </a:cubicBezTo>
                <a:cubicBezTo>
                  <a:pt x="336" y="121"/>
                  <a:pt x="338" y="120"/>
                  <a:pt x="340" y="119"/>
                </a:cubicBezTo>
                <a:cubicBezTo>
                  <a:pt x="343" y="116"/>
                  <a:pt x="343" y="111"/>
                  <a:pt x="340" y="108"/>
                </a:cubicBezTo>
                <a:cubicBezTo>
                  <a:pt x="293" y="61"/>
                  <a:pt x="293" y="61"/>
                  <a:pt x="293" y="61"/>
                </a:cubicBezTo>
                <a:cubicBezTo>
                  <a:pt x="340" y="15"/>
                  <a:pt x="340" y="15"/>
                  <a:pt x="340" y="15"/>
                </a:cubicBezTo>
                <a:cubicBezTo>
                  <a:pt x="343" y="12"/>
                  <a:pt x="343" y="6"/>
                  <a:pt x="340" y="3"/>
                </a:cubicBezTo>
                <a:close/>
                <a:moveTo>
                  <a:pt x="119" y="348"/>
                </a:moveTo>
                <a:cubicBezTo>
                  <a:pt x="116" y="345"/>
                  <a:pt x="111" y="345"/>
                  <a:pt x="108" y="348"/>
                </a:cubicBezTo>
                <a:cubicBezTo>
                  <a:pt x="61" y="394"/>
                  <a:pt x="61" y="394"/>
                  <a:pt x="61" y="394"/>
                </a:cubicBezTo>
                <a:cubicBezTo>
                  <a:pt x="15" y="348"/>
                  <a:pt x="15" y="348"/>
                  <a:pt x="15" y="348"/>
                </a:cubicBezTo>
                <a:cubicBezTo>
                  <a:pt x="11" y="345"/>
                  <a:pt x="6" y="345"/>
                  <a:pt x="3" y="348"/>
                </a:cubicBezTo>
                <a:cubicBezTo>
                  <a:pt x="0" y="351"/>
                  <a:pt x="0" y="356"/>
                  <a:pt x="3" y="359"/>
                </a:cubicBezTo>
                <a:cubicBezTo>
                  <a:pt x="50" y="406"/>
                  <a:pt x="50" y="406"/>
                  <a:pt x="50" y="406"/>
                </a:cubicBezTo>
                <a:cubicBezTo>
                  <a:pt x="3" y="452"/>
                  <a:pt x="3" y="452"/>
                  <a:pt x="3" y="452"/>
                </a:cubicBezTo>
                <a:cubicBezTo>
                  <a:pt x="0" y="455"/>
                  <a:pt x="0" y="460"/>
                  <a:pt x="3" y="463"/>
                </a:cubicBezTo>
                <a:cubicBezTo>
                  <a:pt x="5" y="465"/>
                  <a:pt x="7" y="466"/>
                  <a:pt x="9" y="466"/>
                </a:cubicBezTo>
                <a:cubicBezTo>
                  <a:pt x="11" y="466"/>
                  <a:pt x="13" y="465"/>
                  <a:pt x="15" y="463"/>
                </a:cubicBezTo>
                <a:cubicBezTo>
                  <a:pt x="61" y="417"/>
                  <a:pt x="61" y="417"/>
                  <a:pt x="61" y="417"/>
                </a:cubicBezTo>
                <a:cubicBezTo>
                  <a:pt x="108" y="463"/>
                  <a:pt x="108" y="463"/>
                  <a:pt x="108" y="463"/>
                </a:cubicBezTo>
                <a:cubicBezTo>
                  <a:pt x="109" y="465"/>
                  <a:pt x="111" y="466"/>
                  <a:pt x="113" y="466"/>
                </a:cubicBezTo>
                <a:cubicBezTo>
                  <a:pt x="115" y="466"/>
                  <a:pt x="117" y="465"/>
                  <a:pt x="119" y="463"/>
                </a:cubicBezTo>
                <a:cubicBezTo>
                  <a:pt x="122" y="460"/>
                  <a:pt x="122" y="455"/>
                  <a:pt x="119" y="452"/>
                </a:cubicBezTo>
                <a:cubicBezTo>
                  <a:pt x="72" y="406"/>
                  <a:pt x="72" y="406"/>
                  <a:pt x="72" y="406"/>
                </a:cubicBezTo>
                <a:cubicBezTo>
                  <a:pt x="119" y="359"/>
                  <a:pt x="119" y="359"/>
                  <a:pt x="119" y="359"/>
                </a:cubicBezTo>
                <a:cubicBezTo>
                  <a:pt x="122" y="356"/>
                  <a:pt x="122" y="351"/>
                  <a:pt x="119" y="348"/>
                </a:cubicBezTo>
                <a:close/>
                <a:moveTo>
                  <a:pt x="332" y="509"/>
                </a:moveTo>
                <a:cubicBezTo>
                  <a:pt x="332" y="542"/>
                  <a:pt x="305" y="569"/>
                  <a:pt x="272" y="569"/>
                </a:cubicBezTo>
                <a:cubicBezTo>
                  <a:pt x="239" y="569"/>
                  <a:pt x="212" y="542"/>
                  <a:pt x="212" y="509"/>
                </a:cubicBezTo>
                <a:cubicBezTo>
                  <a:pt x="212" y="479"/>
                  <a:pt x="235" y="454"/>
                  <a:pt x="264" y="450"/>
                </a:cubicBezTo>
                <a:cubicBezTo>
                  <a:pt x="264" y="374"/>
                  <a:pt x="264" y="374"/>
                  <a:pt x="264" y="374"/>
                </a:cubicBezTo>
                <a:cubicBezTo>
                  <a:pt x="42" y="152"/>
                  <a:pt x="42" y="152"/>
                  <a:pt x="42" y="152"/>
                </a:cubicBezTo>
                <a:cubicBezTo>
                  <a:pt x="42" y="254"/>
                  <a:pt x="42" y="254"/>
                  <a:pt x="42" y="254"/>
                </a:cubicBezTo>
                <a:cubicBezTo>
                  <a:pt x="42" y="258"/>
                  <a:pt x="39" y="262"/>
                  <a:pt x="34" y="262"/>
                </a:cubicBezTo>
                <a:cubicBezTo>
                  <a:pt x="30" y="262"/>
                  <a:pt x="26" y="258"/>
                  <a:pt x="26" y="254"/>
                </a:cubicBezTo>
                <a:cubicBezTo>
                  <a:pt x="26" y="133"/>
                  <a:pt x="26" y="133"/>
                  <a:pt x="26" y="133"/>
                </a:cubicBezTo>
                <a:cubicBezTo>
                  <a:pt x="26" y="132"/>
                  <a:pt x="26" y="132"/>
                  <a:pt x="26" y="131"/>
                </a:cubicBezTo>
                <a:cubicBezTo>
                  <a:pt x="26" y="131"/>
                  <a:pt x="26" y="131"/>
                  <a:pt x="27" y="131"/>
                </a:cubicBezTo>
                <a:cubicBezTo>
                  <a:pt x="27" y="130"/>
                  <a:pt x="27" y="130"/>
                  <a:pt x="27" y="130"/>
                </a:cubicBezTo>
                <a:cubicBezTo>
                  <a:pt x="27" y="130"/>
                  <a:pt x="27" y="129"/>
                  <a:pt x="27" y="129"/>
                </a:cubicBezTo>
                <a:cubicBezTo>
                  <a:pt x="27" y="129"/>
                  <a:pt x="27" y="129"/>
                  <a:pt x="28" y="128"/>
                </a:cubicBezTo>
                <a:cubicBezTo>
                  <a:pt x="28" y="128"/>
                  <a:pt x="29" y="127"/>
                  <a:pt x="30" y="126"/>
                </a:cubicBezTo>
                <a:cubicBezTo>
                  <a:pt x="30" y="126"/>
                  <a:pt x="30" y="126"/>
                  <a:pt x="30" y="126"/>
                </a:cubicBezTo>
                <a:cubicBezTo>
                  <a:pt x="31" y="126"/>
                  <a:pt x="31" y="126"/>
                  <a:pt x="31" y="126"/>
                </a:cubicBezTo>
                <a:cubicBezTo>
                  <a:pt x="31" y="125"/>
                  <a:pt x="32" y="125"/>
                  <a:pt x="32" y="125"/>
                </a:cubicBezTo>
                <a:cubicBezTo>
                  <a:pt x="32" y="125"/>
                  <a:pt x="32" y="125"/>
                  <a:pt x="33" y="125"/>
                </a:cubicBezTo>
                <a:cubicBezTo>
                  <a:pt x="33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155" y="125"/>
                  <a:pt x="155" y="125"/>
                  <a:pt x="155" y="125"/>
                </a:cubicBezTo>
                <a:cubicBezTo>
                  <a:pt x="159" y="125"/>
                  <a:pt x="163" y="129"/>
                  <a:pt x="163" y="133"/>
                </a:cubicBezTo>
                <a:cubicBezTo>
                  <a:pt x="163" y="137"/>
                  <a:pt x="159" y="141"/>
                  <a:pt x="155" y="141"/>
                </a:cubicBezTo>
                <a:cubicBezTo>
                  <a:pt x="53" y="141"/>
                  <a:pt x="53" y="141"/>
                  <a:pt x="53" y="141"/>
                </a:cubicBezTo>
                <a:cubicBezTo>
                  <a:pt x="278" y="365"/>
                  <a:pt x="278" y="365"/>
                  <a:pt x="278" y="365"/>
                </a:cubicBezTo>
                <a:cubicBezTo>
                  <a:pt x="279" y="367"/>
                  <a:pt x="280" y="369"/>
                  <a:pt x="280" y="371"/>
                </a:cubicBezTo>
                <a:cubicBezTo>
                  <a:pt x="280" y="450"/>
                  <a:pt x="280" y="450"/>
                  <a:pt x="280" y="450"/>
                </a:cubicBezTo>
                <a:cubicBezTo>
                  <a:pt x="309" y="454"/>
                  <a:pt x="332" y="479"/>
                  <a:pt x="332" y="509"/>
                </a:cubicBezTo>
                <a:close/>
                <a:moveTo>
                  <a:pt x="316" y="509"/>
                </a:moveTo>
                <a:cubicBezTo>
                  <a:pt x="316" y="485"/>
                  <a:pt x="296" y="466"/>
                  <a:pt x="272" y="466"/>
                </a:cubicBezTo>
                <a:cubicBezTo>
                  <a:pt x="248" y="466"/>
                  <a:pt x="228" y="485"/>
                  <a:pt x="228" y="509"/>
                </a:cubicBezTo>
                <a:cubicBezTo>
                  <a:pt x="228" y="533"/>
                  <a:pt x="248" y="553"/>
                  <a:pt x="272" y="553"/>
                </a:cubicBezTo>
                <a:cubicBezTo>
                  <a:pt x="296" y="553"/>
                  <a:pt x="316" y="533"/>
                  <a:pt x="316" y="5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126"/>
          <p:cNvSpPr>
            <a:spLocks noEditPoints="1"/>
          </p:cNvSpPr>
          <p:nvPr/>
        </p:nvSpPr>
        <p:spPr bwMode="auto">
          <a:xfrm>
            <a:off x="7688844" y="3109006"/>
            <a:ext cx="570699" cy="595676"/>
          </a:xfrm>
          <a:custGeom>
            <a:avLst/>
            <a:gdLst>
              <a:gd name="T0" fmla="*/ 703 w 703"/>
              <a:gd name="T1" fmla="*/ 393 h 711"/>
              <a:gd name="T2" fmla="*/ 696 w 703"/>
              <a:gd name="T3" fmla="*/ 325 h 711"/>
              <a:gd name="T4" fmla="*/ 596 w 703"/>
              <a:gd name="T5" fmla="*/ 218 h 711"/>
              <a:gd name="T6" fmla="*/ 555 w 703"/>
              <a:gd name="T7" fmla="*/ 158 h 711"/>
              <a:gd name="T8" fmla="*/ 555 w 703"/>
              <a:gd name="T9" fmla="*/ 246 h 711"/>
              <a:gd name="T10" fmla="*/ 644 w 703"/>
              <a:gd name="T11" fmla="*/ 325 h 711"/>
              <a:gd name="T12" fmla="*/ 420 w 703"/>
              <a:gd name="T13" fmla="*/ 257 h 711"/>
              <a:gd name="T14" fmla="*/ 400 w 703"/>
              <a:gd name="T15" fmla="*/ 206 h 711"/>
              <a:gd name="T16" fmla="*/ 355 w 703"/>
              <a:gd name="T17" fmla="*/ 0 h 711"/>
              <a:gd name="T18" fmla="*/ 305 w 703"/>
              <a:gd name="T19" fmla="*/ 202 h 711"/>
              <a:gd name="T20" fmla="*/ 285 w 703"/>
              <a:gd name="T21" fmla="*/ 257 h 711"/>
              <a:gd name="T22" fmla="*/ 7 w 703"/>
              <a:gd name="T23" fmla="*/ 325 h 711"/>
              <a:gd name="T24" fmla="*/ 0 w 703"/>
              <a:gd name="T25" fmla="*/ 393 h 711"/>
              <a:gd name="T26" fmla="*/ 0 w 703"/>
              <a:gd name="T27" fmla="*/ 395 h 711"/>
              <a:gd name="T28" fmla="*/ 1 w 703"/>
              <a:gd name="T29" fmla="*/ 397 h 711"/>
              <a:gd name="T30" fmla="*/ 68 w 703"/>
              <a:gd name="T31" fmla="*/ 518 h 711"/>
              <a:gd name="T32" fmla="*/ 142 w 703"/>
              <a:gd name="T33" fmla="*/ 704 h 711"/>
              <a:gd name="T34" fmla="*/ 156 w 703"/>
              <a:gd name="T35" fmla="*/ 704 h 711"/>
              <a:gd name="T36" fmla="*/ 548 w 703"/>
              <a:gd name="T37" fmla="*/ 454 h 711"/>
              <a:gd name="T38" fmla="*/ 555 w 703"/>
              <a:gd name="T39" fmla="*/ 711 h 711"/>
              <a:gd name="T40" fmla="*/ 562 w 703"/>
              <a:gd name="T41" fmla="*/ 518 h 711"/>
              <a:gd name="T42" fmla="*/ 642 w 703"/>
              <a:gd name="T43" fmla="*/ 515 h 711"/>
              <a:gd name="T44" fmla="*/ 702 w 703"/>
              <a:gd name="T45" fmla="*/ 396 h 711"/>
              <a:gd name="T46" fmla="*/ 703 w 703"/>
              <a:gd name="T47" fmla="*/ 395 h 711"/>
              <a:gd name="T48" fmla="*/ 525 w 703"/>
              <a:gd name="T49" fmla="*/ 202 h 711"/>
              <a:gd name="T50" fmla="*/ 585 w 703"/>
              <a:gd name="T51" fmla="*/ 202 h 711"/>
              <a:gd name="T52" fmla="*/ 275 w 703"/>
              <a:gd name="T53" fmla="*/ 106 h 711"/>
              <a:gd name="T54" fmla="*/ 435 w 703"/>
              <a:gd name="T55" fmla="*/ 106 h 711"/>
              <a:gd name="T56" fmla="*/ 389 w 703"/>
              <a:gd name="T57" fmla="*/ 197 h 711"/>
              <a:gd name="T58" fmla="*/ 275 w 703"/>
              <a:gd name="T59" fmla="*/ 106 h 711"/>
              <a:gd name="T60" fmla="*/ 318 w 703"/>
              <a:gd name="T61" fmla="*/ 258 h 711"/>
              <a:gd name="T62" fmla="*/ 355 w 703"/>
              <a:gd name="T63" fmla="*/ 220 h 711"/>
              <a:gd name="T64" fmla="*/ 387 w 703"/>
              <a:gd name="T65" fmla="*/ 258 h 711"/>
              <a:gd name="T66" fmla="*/ 523 w 703"/>
              <a:gd name="T67" fmla="*/ 325 h 711"/>
              <a:gd name="T68" fmla="*/ 288 w 703"/>
              <a:gd name="T69" fmla="*/ 271 h 711"/>
              <a:gd name="T70" fmla="*/ 689 w 703"/>
              <a:gd name="T71" fmla="*/ 339 h 711"/>
              <a:gd name="T72" fmla="*/ 14 w 703"/>
              <a:gd name="T73" fmla="*/ 386 h 711"/>
              <a:gd name="T74" fmla="*/ 631 w 703"/>
              <a:gd name="T75" fmla="*/ 504 h 711"/>
              <a:gd name="T76" fmla="*/ 562 w 703"/>
              <a:gd name="T77" fmla="*/ 447 h 711"/>
              <a:gd name="T78" fmla="*/ 149 w 703"/>
              <a:gd name="T79" fmla="*/ 440 h 711"/>
              <a:gd name="T80" fmla="*/ 142 w 703"/>
              <a:gd name="T81" fmla="*/ 504 h 711"/>
              <a:gd name="T82" fmla="*/ 19 w 703"/>
              <a:gd name="T83" fmla="*/ 400 h 711"/>
              <a:gd name="T84" fmla="*/ 631 w 703"/>
              <a:gd name="T85" fmla="*/ 504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03" h="711">
                <a:moveTo>
                  <a:pt x="703" y="395"/>
                </a:moveTo>
                <a:cubicBezTo>
                  <a:pt x="703" y="394"/>
                  <a:pt x="703" y="394"/>
                  <a:pt x="703" y="393"/>
                </a:cubicBezTo>
                <a:cubicBezTo>
                  <a:pt x="703" y="332"/>
                  <a:pt x="703" y="332"/>
                  <a:pt x="703" y="332"/>
                </a:cubicBezTo>
                <a:cubicBezTo>
                  <a:pt x="703" y="328"/>
                  <a:pt x="700" y="325"/>
                  <a:pt x="696" y="325"/>
                </a:cubicBezTo>
                <a:cubicBezTo>
                  <a:pt x="658" y="325"/>
                  <a:pt x="658" y="325"/>
                  <a:pt x="658" y="325"/>
                </a:cubicBezTo>
                <a:cubicBezTo>
                  <a:pt x="656" y="274"/>
                  <a:pt x="626" y="232"/>
                  <a:pt x="596" y="218"/>
                </a:cubicBezTo>
                <a:cubicBezTo>
                  <a:pt x="598" y="213"/>
                  <a:pt x="599" y="208"/>
                  <a:pt x="599" y="202"/>
                </a:cubicBezTo>
                <a:cubicBezTo>
                  <a:pt x="599" y="178"/>
                  <a:pt x="579" y="158"/>
                  <a:pt x="555" y="158"/>
                </a:cubicBezTo>
                <a:cubicBezTo>
                  <a:pt x="530" y="158"/>
                  <a:pt x="511" y="178"/>
                  <a:pt x="511" y="202"/>
                </a:cubicBezTo>
                <a:cubicBezTo>
                  <a:pt x="511" y="226"/>
                  <a:pt x="530" y="246"/>
                  <a:pt x="555" y="246"/>
                </a:cubicBezTo>
                <a:cubicBezTo>
                  <a:pt x="568" y="246"/>
                  <a:pt x="580" y="240"/>
                  <a:pt x="589" y="230"/>
                </a:cubicBezTo>
                <a:cubicBezTo>
                  <a:pt x="616" y="242"/>
                  <a:pt x="642" y="278"/>
                  <a:pt x="644" y="325"/>
                </a:cubicBezTo>
                <a:cubicBezTo>
                  <a:pt x="537" y="325"/>
                  <a:pt x="537" y="325"/>
                  <a:pt x="537" y="325"/>
                </a:cubicBezTo>
                <a:cubicBezTo>
                  <a:pt x="524" y="276"/>
                  <a:pt x="457" y="264"/>
                  <a:pt x="420" y="257"/>
                </a:cubicBezTo>
                <a:cubicBezTo>
                  <a:pt x="413" y="256"/>
                  <a:pt x="404" y="254"/>
                  <a:pt x="400" y="253"/>
                </a:cubicBezTo>
                <a:cubicBezTo>
                  <a:pt x="399" y="244"/>
                  <a:pt x="400" y="222"/>
                  <a:pt x="400" y="206"/>
                </a:cubicBezTo>
                <a:cubicBezTo>
                  <a:pt x="430" y="187"/>
                  <a:pt x="449" y="149"/>
                  <a:pt x="449" y="106"/>
                </a:cubicBezTo>
                <a:cubicBezTo>
                  <a:pt x="449" y="45"/>
                  <a:pt x="409" y="0"/>
                  <a:pt x="355" y="0"/>
                </a:cubicBezTo>
                <a:cubicBezTo>
                  <a:pt x="302" y="0"/>
                  <a:pt x="261" y="45"/>
                  <a:pt x="261" y="106"/>
                </a:cubicBezTo>
                <a:cubicBezTo>
                  <a:pt x="261" y="147"/>
                  <a:pt x="279" y="182"/>
                  <a:pt x="305" y="202"/>
                </a:cubicBezTo>
                <a:cubicBezTo>
                  <a:pt x="306" y="218"/>
                  <a:pt x="306" y="243"/>
                  <a:pt x="305" y="253"/>
                </a:cubicBezTo>
                <a:cubicBezTo>
                  <a:pt x="301" y="254"/>
                  <a:pt x="293" y="256"/>
                  <a:pt x="285" y="257"/>
                </a:cubicBezTo>
                <a:cubicBezTo>
                  <a:pt x="248" y="264"/>
                  <a:pt x="182" y="276"/>
                  <a:pt x="168" y="325"/>
                </a:cubicBezTo>
                <a:cubicBezTo>
                  <a:pt x="7" y="325"/>
                  <a:pt x="7" y="325"/>
                  <a:pt x="7" y="325"/>
                </a:cubicBezTo>
                <a:cubicBezTo>
                  <a:pt x="3" y="325"/>
                  <a:pt x="0" y="328"/>
                  <a:pt x="0" y="332"/>
                </a:cubicBezTo>
                <a:cubicBezTo>
                  <a:pt x="0" y="393"/>
                  <a:pt x="0" y="393"/>
                  <a:pt x="0" y="393"/>
                </a:cubicBezTo>
                <a:cubicBezTo>
                  <a:pt x="0" y="394"/>
                  <a:pt x="0" y="394"/>
                  <a:pt x="0" y="395"/>
                </a:cubicBezTo>
                <a:cubicBezTo>
                  <a:pt x="0" y="395"/>
                  <a:pt x="0" y="395"/>
                  <a:pt x="0" y="395"/>
                </a:cubicBezTo>
                <a:cubicBezTo>
                  <a:pt x="1" y="396"/>
                  <a:pt x="1" y="396"/>
                  <a:pt x="1" y="396"/>
                </a:cubicBezTo>
                <a:cubicBezTo>
                  <a:pt x="1" y="397"/>
                  <a:pt x="1" y="397"/>
                  <a:pt x="1" y="397"/>
                </a:cubicBezTo>
                <a:cubicBezTo>
                  <a:pt x="62" y="515"/>
                  <a:pt x="62" y="515"/>
                  <a:pt x="62" y="515"/>
                </a:cubicBezTo>
                <a:cubicBezTo>
                  <a:pt x="63" y="517"/>
                  <a:pt x="65" y="518"/>
                  <a:pt x="68" y="518"/>
                </a:cubicBezTo>
                <a:cubicBezTo>
                  <a:pt x="142" y="518"/>
                  <a:pt x="142" y="518"/>
                  <a:pt x="142" y="518"/>
                </a:cubicBezTo>
                <a:cubicBezTo>
                  <a:pt x="142" y="704"/>
                  <a:pt x="142" y="704"/>
                  <a:pt x="142" y="704"/>
                </a:cubicBezTo>
                <a:cubicBezTo>
                  <a:pt x="142" y="708"/>
                  <a:pt x="145" y="711"/>
                  <a:pt x="149" y="711"/>
                </a:cubicBezTo>
                <a:cubicBezTo>
                  <a:pt x="153" y="711"/>
                  <a:pt x="156" y="708"/>
                  <a:pt x="156" y="704"/>
                </a:cubicBezTo>
                <a:cubicBezTo>
                  <a:pt x="156" y="454"/>
                  <a:pt x="156" y="454"/>
                  <a:pt x="156" y="454"/>
                </a:cubicBezTo>
                <a:cubicBezTo>
                  <a:pt x="548" y="454"/>
                  <a:pt x="548" y="454"/>
                  <a:pt x="548" y="454"/>
                </a:cubicBezTo>
                <a:cubicBezTo>
                  <a:pt x="548" y="704"/>
                  <a:pt x="548" y="704"/>
                  <a:pt x="548" y="704"/>
                </a:cubicBezTo>
                <a:cubicBezTo>
                  <a:pt x="548" y="708"/>
                  <a:pt x="551" y="711"/>
                  <a:pt x="555" y="711"/>
                </a:cubicBezTo>
                <a:cubicBezTo>
                  <a:pt x="559" y="711"/>
                  <a:pt x="562" y="708"/>
                  <a:pt x="562" y="704"/>
                </a:cubicBezTo>
                <a:cubicBezTo>
                  <a:pt x="562" y="518"/>
                  <a:pt x="562" y="518"/>
                  <a:pt x="562" y="518"/>
                </a:cubicBezTo>
                <a:cubicBezTo>
                  <a:pt x="635" y="518"/>
                  <a:pt x="635" y="518"/>
                  <a:pt x="635" y="518"/>
                </a:cubicBezTo>
                <a:cubicBezTo>
                  <a:pt x="638" y="518"/>
                  <a:pt x="640" y="517"/>
                  <a:pt x="642" y="515"/>
                </a:cubicBezTo>
                <a:cubicBezTo>
                  <a:pt x="702" y="397"/>
                  <a:pt x="702" y="397"/>
                  <a:pt x="702" y="397"/>
                </a:cubicBezTo>
                <a:cubicBezTo>
                  <a:pt x="702" y="397"/>
                  <a:pt x="702" y="397"/>
                  <a:pt x="702" y="396"/>
                </a:cubicBezTo>
                <a:cubicBezTo>
                  <a:pt x="703" y="396"/>
                  <a:pt x="703" y="396"/>
                  <a:pt x="703" y="395"/>
                </a:cubicBezTo>
                <a:cubicBezTo>
                  <a:pt x="703" y="395"/>
                  <a:pt x="703" y="395"/>
                  <a:pt x="703" y="395"/>
                </a:cubicBezTo>
                <a:close/>
                <a:moveTo>
                  <a:pt x="555" y="232"/>
                </a:moveTo>
                <a:cubicBezTo>
                  <a:pt x="538" y="232"/>
                  <a:pt x="525" y="218"/>
                  <a:pt x="525" y="202"/>
                </a:cubicBezTo>
                <a:cubicBezTo>
                  <a:pt x="525" y="185"/>
                  <a:pt x="538" y="172"/>
                  <a:pt x="555" y="172"/>
                </a:cubicBezTo>
                <a:cubicBezTo>
                  <a:pt x="571" y="172"/>
                  <a:pt x="585" y="185"/>
                  <a:pt x="585" y="202"/>
                </a:cubicBezTo>
                <a:cubicBezTo>
                  <a:pt x="585" y="218"/>
                  <a:pt x="571" y="232"/>
                  <a:pt x="555" y="232"/>
                </a:cubicBezTo>
                <a:close/>
                <a:moveTo>
                  <a:pt x="275" y="106"/>
                </a:moveTo>
                <a:cubicBezTo>
                  <a:pt x="275" y="53"/>
                  <a:pt x="310" y="14"/>
                  <a:pt x="355" y="14"/>
                </a:cubicBezTo>
                <a:cubicBezTo>
                  <a:pt x="401" y="14"/>
                  <a:pt x="435" y="53"/>
                  <a:pt x="435" y="106"/>
                </a:cubicBezTo>
                <a:cubicBezTo>
                  <a:pt x="435" y="145"/>
                  <a:pt x="418" y="179"/>
                  <a:pt x="392" y="195"/>
                </a:cubicBezTo>
                <a:cubicBezTo>
                  <a:pt x="390" y="195"/>
                  <a:pt x="389" y="196"/>
                  <a:pt x="389" y="197"/>
                </a:cubicBezTo>
                <a:cubicBezTo>
                  <a:pt x="378" y="203"/>
                  <a:pt x="367" y="206"/>
                  <a:pt x="355" y="206"/>
                </a:cubicBezTo>
                <a:cubicBezTo>
                  <a:pt x="311" y="206"/>
                  <a:pt x="275" y="161"/>
                  <a:pt x="275" y="106"/>
                </a:cubicBezTo>
                <a:close/>
                <a:moveTo>
                  <a:pt x="288" y="271"/>
                </a:moveTo>
                <a:cubicBezTo>
                  <a:pt x="308" y="267"/>
                  <a:pt x="317" y="266"/>
                  <a:pt x="318" y="258"/>
                </a:cubicBezTo>
                <a:cubicBezTo>
                  <a:pt x="320" y="250"/>
                  <a:pt x="320" y="226"/>
                  <a:pt x="319" y="211"/>
                </a:cubicBezTo>
                <a:cubicBezTo>
                  <a:pt x="330" y="217"/>
                  <a:pt x="342" y="220"/>
                  <a:pt x="355" y="220"/>
                </a:cubicBezTo>
                <a:cubicBezTo>
                  <a:pt x="366" y="220"/>
                  <a:pt x="376" y="218"/>
                  <a:pt x="386" y="214"/>
                </a:cubicBezTo>
                <a:cubicBezTo>
                  <a:pt x="386" y="228"/>
                  <a:pt x="385" y="251"/>
                  <a:pt x="387" y="258"/>
                </a:cubicBezTo>
                <a:cubicBezTo>
                  <a:pt x="389" y="266"/>
                  <a:pt x="397" y="267"/>
                  <a:pt x="418" y="271"/>
                </a:cubicBezTo>
                <a:cubicBezTo>
                  <a:pt x="452" y="277"/>
                  <a:pt x="509" y="288"/>
                  <a:pt x="523" y="325"/>
                </a:cubicBezTo>
                <a:cubicBezTo>
                  <a:pt x="183" y="325"/>
                  <a:pt x="183" y="325"/>
                  <a:pt x="183" y="325"/>
                </a:cubicBezTo>
                <a:cubicBezTo>
                  <a:pt x="197" y="288"/>
                  <a:pt x="253" y="277"/>
                  <a:pt x="288" y="271"/>
                </a:cubicBezTo>
                <a:close/>
                <a:moveTo>
                  <a:pt x="14" y="339"/>
                </a:moveTo>
                <a:cubicBezTo>
                  <a:pt x="689" y="339"/>
                  <a:pt x="689" y="339"/>
                  <a:pt x="689" y="339"/>
                </a:cubicBezTo>
                <a:cubicBezTo>
                  <a:pt x="689" y="386"/>
                  <a:pt x="689" y="386"/>
                  <a:pt x="689" y="386"/>
                </a:cubicBezTo>
                <a:cubicBezTo>
                  <a:pt x="14" y="386"/>
                  <a:pt x="14" y="386"/>
                  <a:pt x="14" y="386"/>
                </a:cubicBezTo>
                <a:lnTo>
                  <a:pt x="14" y="339"/>
                </a:lnTo>
                <a:close/>
                <a:moveTo>
                  <a:pt x="631" y="504"/>
                </a:moveTo>
                <a:cubicBezTo>
                  <a:pt x="562" y="504"/>
                  <a:pt x="562" y="504"/>
                  <a:pt x="562" y="504"/>
                </a:cubicBezTo>
                <a:cubicBezTo>
                  <a:pt x="562" y="447"/>
                  <a:pt x="562" y="447"/>
                  <a:pt x="562" y="447"/>
                </a:cubicBezTo>
                <a:cubicBezTo>
                  <a:pt x="562" y="443"/>
                  <a:pt x="559" y="440"/>
                  <a:pt x="555" y="440"/>
                </a:cubicBezTo>
                <a:cubicBezTo>
                  <a:pt x="149" y="440"/>
                  <a:pt x="149" y="440"/>
                  <a:pt x="149" y="440"/>
                </a:cubicBezTo>
                <a:cubicBezTo>
                  <a:pt x="145" y="440"/>
                  <a:pt x="142" y="443"/>
                  <a:pt x="142" y="447"/>
                </a:cubicBezTo>
                <a:cubicBezTo>
                  <a:pt x="142" y="504"/>
                  <a:pt x="142" y="504"/>
                  <a:pt x="142" y="504"/>
                </a:cubicBezTo>
                <a:cubicBezTo>
                  <a:pt x="72" y="504"/>
                  <a:pt x="72" y="504"/>
                  <a:pt x="72" y="504"/>
                </a:cubicBezTo>
                <a:cubicBezTo>
                  <a:pt x="19" y="400"/>
                  <a:pt x="19" y="400"/>
                  <a:pt x="19" y="400"/>
                </a:cubicBezTo>
                <a:cubicBezTo>
                  <a:pt x="685" y="400"/>
                  <a:pt x="685" y="400"/>
                  <a:pt x="685" y="400"/>
                </a:cubicBezTo>
                <a:lnTo>
                  <a:pt x="631" y="5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121"/>
          <p:cNvSpPr>
            <a:spLocks noEditPoints="1"/>
          </p:cNvSpPr>
          <p:nvPr/>
        </p:nvSpPr>
        <p:spPr bwMode="auto">
          <a:xfrm>
            <a:off x="8321307" y="2564905"/>
            <a:ext cx="402524" cy="327818"/>
          </a:xfrm>
          <a:custGeom>
            <a:avLst/>
            <a:gdLst>
              <a:gd name="T0" fmla="*/ 333 w 703"/>
              <a:gd name="T1" fmla="*/ 406 h 572"/>
              <a:gd name="T2" fmla="*/ 198 w 703"/>
              <a:gd name="T3" fmla="*/ 553 h 572"/>
              <a:gd name="T4" fmla="*/ 157 w 703"/>
              <a:gd name="T5" fmla="*/ 568 h 572"/>
              <a:gd name="T6" fmla="*/ 79 w 703"/>
              <a:gd name="T7" fmla="*/ 460 h 572"/>
              <a:gd name="T8" fmla="*/ 207 w 703"/>
              <a:gd name="T9" fmla="*/ 350 h 572"/>
              <a:gd name="T10" fmla="*/ 112 w 703"/>
              <a:gd name="T11" fmla="*/ 218 h 572"/>
              <a:gd name="T12" fmla="*/ 17 w 703"/>
              <a:gd name="T13" fmla="*/ 75 h 572"/>
              <a:gd name="T14" fmla="*/ 82 w 703"/>
              <a:gd name="T15" fmla="*/ 129 h 572"/>
              <a:gd name="T16" fmla="*/ 76 w 703"/>
              <a:gd name="T17" fmla="*/ 24 h 572"/>
              <a:gd name="T18" fmla="*/ 112 w 703"/>
              <a:gd name="T19" fmla="*/ 8 h 572"/>
              <a:gd name="T20" fmla="*/ 317 w 703"/>
              <a:gd name="T21" fmla="*/ 245 h 572"/>
              <a:gd name="T22" fmla="*/ 381 w 703"/>
              <a:gd name="T23" fmla="*/ 208 h 572"/>
              <a:gd name="T24" fmla="*/ 400 w 703"/>
              <a:gd name="T25" fmla="*/ 75 h 572"/>
              <a:gd name="T26" fmla="*/ 300 w 703"/>
              <a:gd name="T27" fmla="*/ 32 h 572"/>
              <a:gd name="T28" fmla="*/ 563 w 703"/>
              <a:gd name="T29" fmla="*/ 80 h 572"/>
              <a:gd name="T30" fmla="*/ 609 w 703"/>
              <a:gd name="T31" fmla="*/ 172 h 572"/>
              <a:gd name="T32" fmla="*/ 695 w 703"/>
              <a:gd name="T33" fmla="*/ 219 h 572"/>
              <a:gd name="T34" fmla="*/ 611 w 703"/>
              <a:gd name="T35" fmla="*/ 324 h 572"/>
              <a:gd name="T36" fmla="*/ 557 w 703"/>
              <a:gd name="T37" fmla="*/ 265 h 572"/>
              <a:gd name="T38" fmla="*/ 439 w 703"/>
              <a:gd name="T39" fmla="*/ 265 h 572"/>
              <a:gd name="T40" fmla="*/ 402 w 703"/>
              <a:gd name="T41" fmla="*/ 330 h 572"/>
              <a:gd name="T42" fmla="*/ 555 w 703"/>
              <a:gd name="T43" fmla="*/ 556 h 572"/>
              <a:gd name="T44" fmla="*/ 338 w 703"/>
              <a:gd name="T45" fmla="*/ 392 h 572"/>
              <a:gd name="T46" fmla="*/ 545 w 703"/>
              <a:gd name="T47" fmla="*/ 546 h 572"/>
              <a:gd name="T48" fmla="*/ 387 w 703"/>
              <a:gd name="T49" fmla="*/ 336 h 572"/>
              <a:gd name="T50" fmla="*/ 425 w 703"/>
              <a:gd name="T51" fmla="*/ 276 h 572"/>
              <a:gd name="T52" fmla="*/ 423 w 703"/>
              <a:gd name="T53" fmla="*/ 265 h 572"/>
              <a:gd name="T54" fmla="*/ 560 w 703"/>
              <a:gd name="T55" fmla="*/ 217 h 572"/>
              <a:gd name="T56" fmla="*/ 606 w 703"/>
              <a:gd name="T57" fmla="*/ 308 h 572"/>
              <a:gd name="T58" fmla="*/ 685 w 703"/>
              <a:gd name="T59" fmla="*/ 229 h 572"/>
              <a:gd name="T60" fmla="*/ 644 w 703"/>
              <a:gd name="T61" fmla="*/ 193 h 572"/>
              <a:gd name="T62" fmla="*/ 594 w 703"/>
              <a:gd name="T63" fmla="*/ 142 h 572"/>
              <a:gd name="T64" fmla="*/ 314 w 703"/>
              <a:gd name="T65" fmla="*/ 28 h 572"/>
              <a:gd name="T66" fmla="*/ 324 w 703"/>
              <a:gd name="T67" fmla="*/ 29 h 572"/>
              <a:gd name="T68" fmla="*/ 414 w 703"/>
              <a:gd name="T69" fmla="*/ 195 h 572"/>
              <a:gd name="T70" fmla="*/ 377 w 703"/>
              <a:gd name="T71" fmla="*/ 222 h 572"/>
              <a:gd name="T72" fmla="*/ 359 w 703"/>
              <a:gd name="T73" fmla="*/ 230 h 572"/>
              <a:gd name="T74" fmla="*/ 200 w 703"/>
              <a:gd name="T75" fmla="*/ 148 h 572"/>
              <a:gd name="T76" fmla="*/ 112 w 703"/>
              <a:gd name="T77" fmla="*/ 22 h 572"/>
              <a:gd name="T78" fmla="*/ 131 w 703"/>
              <a:gd name="T79" fmla="*/ 132 h 572"/>
              <a:gd name="T80" fmla="*/ 22 w 703"/>
              <a:gd name="T81" fmla="*/ 95 h 572"/>
              <a:gd name="T82" fmla="*/ 140 w 703"/>
              <a:gd name="T83" fmla="*/ 199 h 572"/>
              <a:gd name="T84" fmla="*/ 255 w 703"/>
              <a:gd name="T85" fmla="*/ 318 h 572"/>
              <a:gd name="T86" fmla="*/ 98 w 703"/>
              <a:gd name="T87" fmla="*/ 464 h 572"/>
              <a:gd name="T88" fmla="*/ 142 w 703"/>
              <a:gd name="T89" fmla="*/ 533 h 572"/>
              <a:gd name="T90" fmla="*/ 178 w 703"/>
              <a:gd name="T91" fmla="*/ 557 h 572"/>
              <a:gd name="T92" fmla="*/ 299 w 703"/>
              <a:gd name="T93" fmla="*/ 417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03" h="572">
                <a:moveTo>
                  <a:pt x="518" y="572"/>
                </a:moveTo>
                <a:cubicBezTo>
                  <a:pt x="505" y="572"/>
                  <a:pt x="494" y="568"/>
                  <a:pt x="486" y="559"/>
                </a:cubicBezTo>
                <a:cubicBezTo>
                  <a:pt x="333" y="406"/>
                  <a:pt x="333" y="406"/>
                  <a:pt x="333" y="406"/>
                </a:cubicBezTo>
                <a:cubicBezTo>
                  <a:pt x="324" y="414"/>
                  <a:pt x="316" y="421"/>
                  <a:pt x="308" y="428"/>
                </a:cubicBezTo>
                <a:cubicBezTo>
                  <a:pt x="296" y="438"/>
                  <a:pt x="285" y="448"/>
                  <a:pt x="272" y="461"/>
                </a:cubicBezTo>
                <a:cubicBezTo>
                  <a:pt x="252" y="481"/>
                  <a:pt x="216" y="530"/>
                  <a:pt x="198" y="553"/>
                </a:cubicBezTo>
                <a:cubicBezTo>
                  <a:pt x="190" y="565"/>
                  <a:pt x="188" y="567"/>
                  <a:pt x="187" y="568"/>
                </a:cubicBezTo>
                <a:cubicBezTo>
                  <a:pt x="184" y="571"/>
                  <a:pt x="177" y="572"/>
                  <a:pt x="172" y="572"/>
                </a:cubicBezTo>
                <a:cubicBezTo>
                  <a:pt x="167" y="572"/>
                  <a:pt x="160" y="571"/>
                  <a:pt x="157" y="568"/>
                </a:cubicBezTo>
                <a:cubicBezTo>
                  <a:pt x="155" y="566"/>
                  <a:pt x="145" y="556"/>
                  <a:pt x="132" y="543"/>
                </a:cubicBezTo>
                <a:cubicBezTo>
                  <a:pt x="132" y="543"/>
                  <a:pt x="83" y="494"/>
                  <a:pt x="79" y="490"/>
                </a:cubicBezTo>
                <a:cubicBezTo>
                  <a:pt x="74" y="484"/>
                  <a:pt x="73" y="466"/>
                  <a:pt x="79" y="460"/>
                </a:cubicBezTo>
                <a:cubicBezTo>
                  <a:pt x="80" y="459"/>
                  <a:pt x="82" y="457"/>
                  <a:pt x="90" y="452"/>
                </a:cubicBezTo>
                <a:cubicBezTo>
                  <a:pt x="108" y="441"/>
                  <a:pt x="144" y="418"/>
                  <a:pt x="163" y="398"/>
                </a:cubicBezTo>
                <a:cubicBezTo>
                  <a:pt x="176" y="385"/>
                  <a:pt x="191" y="368"/>
                  <a:pt x="207" y="350"/>
                </a:cubicBezTo>
                <a:cubicBezTo>
                  <a:pt x="218" y="338"/>
                  <a:pt x="229" y="325"/>
                  <a:pt x="240" y="314"/>
                </a:cubicBezTo>
                <a:cubicBezTo>
                  <a:pt x="140" y="214"/>
                  <a:pt x="140" y="214"/>
                  <a:pt x="140" y="214"/>
                </a:cubicBezTo>
                <a:cubicBezTo>
                  <a:pt x="131" y="216"/>
                  <a:pt x="121" y="218"/>
                  <a:pt x="112" y="218"/>
                </a:cubicBezTo>
                <a:cubicBezTo>
                  <a:pt x="84" y="218"/>
                  <a:pt x="57" y="207"/>
                  <a:pt x="37" y="187"/>
                </a:cubicBezTo>
                <a:cubicBezTo>
                  <a:pt x="9" y="159"/>
                  <a:pt x="0" y="118"/>
                  <a:pt x="12" y="80"/>
                </a:cubicBezTo>
                <a:cubicBezTo>
                  <a:pt x="13" y="77"/>
                  <a:pt x="15" y="76"/>
                  <a:pt x="17" y="75"/>
                </a:cubicBezTo>
                <a:cubicBezTo>
                  <a:pt x="19" y="74"/>
                  <a:pt x="22" y="75"/>
                  <a:pt x="24" y="77"/>
                </a:cubicBezTo>
                <a:cubicBezTo>
                  <a:pt x="75" y="128"/>
                  <a:pt x="75" y="128"/>
                  <a:pt x="75" y="128"/>
                </a:cubicBezTo>
                <a:cubicBezTo>
                  <a:pt x="76" y="129"/>
                  <a:pt x="78" y="129"/>
                  <a:pt x="82" y="129"/>
                </a:cubicBezTo>
                <a:cubicBezTo>
                  <a:pt x="96" y="129"/>
                  <a:pt x="117" y="125"/>
                  <a:pt x="121" y="122"/>
                </a:cubicBezTo>
                <a:cubicBezTo>
                  <a:pt x="125" y="115"/>
                  <a:pt x="129" y="83"/>
                  <a:pt x="127" y="76"/>
                </a:cubicBezTo>
                <a:cubicBezTo>
                  <a:pt x="76" y="24"/>
                  <a:pt x="76" y="24"/>
                  <a:pt x="76" y="24"/>
                </a:cubicBezTo>
                <a:cubicBezTo>
                  <a:pt x="74" y="23"/>
                  <a:pt x="74" y="20"/>
                  <a:pt x="74" y="18"/>
                </a:cubicBezTo>
                <a:cubicBezTo>
                  <a:pt x="75" y="15"/>
                  <a:pt x="77" y="14"/>
                  <a:pt x="79" y="13"/>
                </a:cubicBezTo>
                <a:cubicBezTo>
                  <a:pt x="89" y="9"/>
                  <a:pt x="101" y="8"/>
                  <a:pt x="112" y="8"/>
                </a:cubicBezTo>
                <a:cubicBezTo>
                  <a:pt x="140" y="8"/>
                  <a:pt x="166" y="18"/>
                  <a:pt x="186" y="38"/>
                </a:cubicBezTo>
                <a:cubicBezTo>
                  <a:pt x="213" y="65"/>
                  <a:pt x="223" y="104"/>
                  <a:pt x="213" y="141"/>
                </a:cubicBezTo>
                <a:cubicBezTo>
                  <a:pt x="317" y="245"/>
                  <a:pt x="317" y="245"/>
                  <a:pt x="317" y="245"/>
                </a:cubicBezTo>
                <a:cubicBezTo>
                  <a:pt x="330" y="235"/>
                  <a:pt x="342" y="226"/>
                  <a:pt x="351" y="219"/>
                </a:cubicBezTo>
                <a:cubicBezTo>
                  <a:pt x="356" y="215"/>
                  <a:pt x="360" y="212"/>
                  <a:pt x="362" y="211"/>
                </a:cubicBezTo>
                <a:cubicBezTo>
                  <a:pt x="368" y="206"/>
                  <a:pt x="375" y="205"/>
                  <a:pt x="381" y="208"/>
                </a:cubicBezTo>
                <a:cubicBezTo>
                  <a:pt x="387" y="203"/>
                  <a:pt x="387" y="203"/>
                  <a:pt x="387" y="203"/>
                </a:cubicBezTo>
                <a:cubicBezTo>
                  <a:pt x="404" y="185"/>
                  <a:pt x="404" y="185"/>
                  <a:pt x="404" y="185"/>
                </a:cubicBezTo>
                <a:cubicBezTo>
                  <a:pt x="424" y="165"/>
                  <a:pt x="450" y="125"/>
                  <a:pt x="400" y="75"/>
                </a:cubicBezTo>
                <a:cubicBezTo>
                  <a:pt x="369" y="45"/>
                  <a:pt x="332" y="43"/>
                  <a:pt x="324" y="43"/>
                </a:cubicBezTo>
                <a:cubicBezTo>
                  <a:pt x="321" y="43"/>
                  <a:pt x="319" y="43"/>
                  <a:pt x="318" y="43"/>
                </a:cubicBezTo>
                <a:cubicBezTo>
                  <a:pt x="310" y="45"/>
                  <a:pt x="302" y="40"/>
                  <a:pt x="300" y="32"/>
                </a:cubicBezTo>
                <a:cubicBezTo>
                  <a:pt x="299" y="25"/>
                  <a:pt x="301" y="19"/>
                  <a:pt x="307" y="16"/>
                </a:cubicBezTo>
                <a:cubicBezTo>
                  <a:pt x="325" y="6"/>
                  <a:pt x="354" y="0"/>
                  <a:pt x="383" y="0"/>
                </a:cubicBezTo>
                <a:cubicBezTo>
                  <a:pt x="429" y="0"/>
                  <a:pt x="497" y="14"/>
                  <a:pt x="563" y="80"/>
                </a:cubicBezTo>
                <a:cubicBezTo>
                  <a:pt x="593" y="110"/>
                  <a:pt x="606" y="127"/>
                  <a:pt x="608" y="140"/>
                </a:cubicBezTo>
                <a:cubicBezTo>
                  <a:pt x="609" y="146"/>
                  <a:pt x="608" y="152"/>
                  <a:pt x="608" y="157"/>
                </a:cubicBezTo>
                <a:cubicBezTo>
                  <a:pt x="607" y="164"/>
                  <a:pt x="607" y="169"/>
                  <a:pt x="609" y="172"/>
                </a:cubicBezTo>
                <a:cubicBezTo>
                  <a:pt x="617" y="179"/>
                  <a:pt x="627" y="181"/>
                  <a:pt x="642" y="179"/>
                </a:cubicBezTo>
                <a:cubicBezTo>
                  <a:pt x="649" y="178"/>
                  <a:pt x="657" y="181"/>
                  <a:pt x="662" y="186"/>
                </a:cubicBezTo>
                <a:cubicBezTo>
                  <a:pt x="695" y="219"/>
                  <a:pt x="695" y="219"/>
                  <a:pt x="695" y="219"/>
                </a:cubicBezTo>
                <a:cubicBezTo>
                  <a:pt x="703" y="227"/>
                  <a:pt x="703" y="240"/>
                  <a:pt x="695" y="249"/>
                </a:cubicBezTo>
                <a:cubicBezTo>
                  <a:pt x="626" y="318"/>
                  <a:pt x="626" y="318"/>
                  <a:pt x="626" y="318"/>
                </a:cubicBezTo>
                <a:cubicBezTo>
                  <a:pt x="622" y="322"/>
                  <a:pt x="616" y="324"/>
                  <a:pt x="611" y="324"/>
                </a:cubicBezTo>
                <a:cubicBezTo>
                  <a:pt x="605" y="324"/>
                  <a:pt x="600" y="322"/>
                  <a:pt x="596" y="318"/>
                </a:cubicBezTo>
                <a:cubicBezTo>
                  <a:pt x="563" y="285"/>
                  <a:pt x="563" y="285"/>
                  <a:pt x="563" y="285"/>
                </a:cubicBezTo>
                <a:cubicBezTo>
                  <a:pt x="558" y="280"/>
                  <a:pt x="556" y="273"/>
                  <a:pt x="557" y="265"/>
                </a:cubicBezTo>
                <a:cubicBezTo>
                  <a:pt x="561" y="247"/>
                  <a:pt x="558" y="235"/>
                  <a:pt x="550" y="227"/>
                </a:cubicBezTo>
                <a:cubicBezTo>
                  <a:pt x="537" y="214"/>
                  <a:pt x="528" y="210"/>
                  <a:pt x="512" y="212"/>
                </a:cubicBezTo>
                <a:cubicBezTo>
                  <a:pt x="498" y="214"/>
                  <a:pt x="471" y="234"/>
                  <a:pt x="439" y="265"/>
                </a:cubicBezTo>
                <a:cubicBezTo>
                  <a:pt x="442" y="272"/>
                  <a:pt x="442" y="279"/>
                  <a:pt x="436" y="285"/>
                </a:cubicBezTo>
                <a:cubicBezTo>
                  <a:pt x="435" y="287"/>
                  <a:pt x="432" y="291"/>
                  <a:pt x="428" y="296"/>
                </a:cubicBezTo>
                <a:cubicBezTo>
                  <a:pt x="421" y="305"/>
                  <a:pt x="412" y="317"/>
                  <a:pt x="402" y="330"/>
                </a:cubicBezTo>
                <a:cubicBezTo>
                  <a:pt x="559" y="487"/>
                  <a:pt x="559" y="487"/>
                  <a:pt x="559" y="487"/>
                </a:cubicBezTo>
                <a:cubicBezTo>
                  <a:pt x="567" y="496"/>
                  <a:pt x="572" y="508"/>
                  <a:pt x="571" y="521"/>
                </a:cubicBezTo>
                <a:cubicBezTo>
                  <a:pt x="570" y="534"/>
                  <a:pt x="565" y="546"/>
                  <a:pt x="555" y="556"/>
                </a:cubicBezTo>
                <a:cubicBezTo>
                  <a:pt x="545" y="566"/>
                  <a:pt x="531" y="572"/>
                  <a:pt x="518" y="572"/>
                </a:cubicBezTo>
                <a:close/>
                <a:moveTo>
                  <a:pt x="333" y="390"/>
                </a:moveTo>
                <a:cubicBezTo>
                  <a:pt x="335" y="390"/>
                  <a:pt x="337" y="390"/>
                  <a:pt x="338" y="392"/>
                </a:cubicBezTo>
                <a:cubicBezTo>
                  <a:pt x="496" y="550"/>
                  <a:pt x="496" y="550"/>
                  <a:pt x="496" y="550"/>
                </a:cubicBezTo>
                <a:cubicBezTo>
                  <a:pt x="502" y="555"/>
                  <a:pt x="509" y="558"/>
                  <a:pt x="518" y="558"/>
                </a:cubicBezTo>
                <a:cubicBezTo>
                  <a:pt x="527" y="558"/>
                  <a:pt x="538" y="554"/>
                  <a:pt x="545" y="546"/>
                </a:cubicBezTo>
                <a:cubicBezTo>
                  <a:pt x="552" y="539"/>
                  <a:pt x="557" y="530"/>
                  <a:pt x="557" y="520"/>
                </a:cubicBezTo>
                <a:cubicBezTo>
                  <a:pt x="558" y="511"/>
                  <a:pt x="555" y="503"/>
                  <a:pt x="549" y="497"/>
                </a:cubicBezTo>
                <a:cubicBezTo>
                  <a:pt x="387" y="336"/>
                  <a:pt x="387" y="336"/>
                  <a:pt x="387" y="336"/>
                </a:cubicBezTo>
                <a:cubicBezTo>
                  <a:pt x="385" y="333"/>
                  <a:pt x="385" y="329"/>
                  <a:pt x="387" y="326"/>
                </a:cubicBezTo>
                <a:cubicBezTo>
                  <a:pt x="399" y="312"/>
                  <a:pt x="409" y="297"/>
                  <a:pt x="416" y="288"/>
                </a:cubicBezTo>
                <a:cubicBezTo>
                  <a:pt x="421" y="282"/>
                  <a:pt x="424" y="278"/>
                  <a:pt x="425" y="276"/>
                </a:cubicBezTo>
                <a:cubicBezTo>
                  <a:pt x="428" y="274"/>
                  <a:pt x="428" y="272"/>
                  <a:pt x="425" y="270"/>
                </a:cubicBezTo>
                <a:cubicBezTo>
                  <a:pt x="425" y="270"/>
                  <a:pt x="425" y="269"/>
                  <a:pt x="425" y="269"/>
                </a:cubicBezTo>
                <a:cubicBezTo>
                  <a:pt x="423" y="268"/>
                  <a:pt x="423" y="267"/>
                  <a:pt x="423" y="265"/>
                </a:cubicBezTo>
                <a:cubicBezTo>
                  <a:pt x="422" y="263"/>
                  <a:pt x="423" y="261"/>
                  <a:pt x="425" y="259"/>
                </a:cubicBezTo>
                <a:cubicBezTo>
                  <a:pt x="451" y="233"/>
                  <a:pt x="487" y="201"/>
                  <a:pt x="511" y="198"/>
                </a:cubicBezTo>
                <a:cubicBezTo>
                  <a:pt x="534" y="196"/>
                  <a:pt x="547" y="204"/>
                  <a:pt x="560" y="217"/>
                </a:cubicBezTo>
                <a:cubicBezTo>
                  <a:pt x="571" y="228"/>
                  <a:pt x="575" y="245"/>
                  <a:pt x="571" y="267"/>
                </a:cubicBezTo>
                <a:cubicBezTo>
                  <a:pt x="571" y="269"/>
                  <a:pt x="570" y="273"/>
                  <a:pt x="573" y="275"/>
                </a:cubicBezTo>
                <a:cubicBezTo>
                  <a:pt x="606" y="308"/>
                  <a:pt x="606" y="308"/>
                  <a:pt x="606" y="308"/>
                </a:cubicBezTo>
                <a:cubicBezTo>
                  <a:pt x="608" y="310"/>
                  <a:pt x="613" y="310"/>
                  <a:pt x="616" y="308"/>
                </a:cubicBezTo>
                <a:cubicBezTo>
                  <a:pt x="685" y="239"/>
                  <a:pt x="685" y="239"/>
                  <a:pt x="685" y="239"/>
                </a:cubicBezTo>
                <a:cubicBezTo>
                  <a:pt x="687" y="236"/>
                  <a:pt x="687" y="232"/>
                  <a:pt x="685" y="229"/>
                </a:cubicBezTo>
                <a:cubicBezTo>
                  <a:pt x="652" y="196"/>
                  <a:pt x="652" y="196"/>
                  <a:pt x="652" y="196"/>
                </a:cubicBezTo>
                <a:cubicBezTo>
                  <a:pt x="650" y="194"/>
                  <a:pt x="647" y="193"/>
                  <a:pt x="645" y="193"/>
                </a:cubicBezTo>
                <a:cubicBezTo>
                  <a:pt x="645" y="193"/>
                  <a:pt x="644" y="193"/>
                  <a:pt x="644" y="193"/>
                </a:cubicBezTo>
                <a:cubicBezTo>
                  <a:pt x="624" y="196"/>
                  <a:pt x="610" y="192"/>
                  <a:pt x="600" y="182"/>
                </a:cubicBezTo>
                <a:cubicBezTo>
                  <a:pt x="592" y="174"/>
                  <a:pt x="593" y="164"/>
                  <a:pt x="594" y="155"/>
                </a:cubicBezTo>
                <a:cubicBezTo>
                  <a:pt x="594" y="151"/>
                  <a:pt x="595" y="146"/>
                  <a:pt x="594" y="142"/>
                </a:cubicBezTo>
                <a:cubicBezTo>
                  <a:pt x="592" y="129"/>
                  <a:pt x="563" y="100"/>
                  <a:pt x="553" y="90"/>
                </a:cubicBezTo>
                <a:cubicBezTo>
                  <a:pt x="490" y="27"/>
                  <a:pt x="426" y="14"/>
                  <a:pt x="383" y="14"/>
                </a:cubicBezTo>
                <a:cubicBezTo>
                  <a:pt x="351" y="14"/>
                  <a:pt x="326" y="21"/>
                  <a:pt x="314" y="28"/>
                </a:cubicBezTo>
                <a:cubicBezTo>
                  <a:pt x="314" y="28"/>
                  <a:pt x="314" y="29"/>
                  <a:pt x="314" y="29"/>
                </a:cubicBezTo>
                <a:cubicBezTo>
                  <a:pt x="315" y="30"/>
                  <a:pt x="315" y="30"/>
                  <a:pt x="315" y="30"/>
                </a:cubicBezTo>
                <a:cubicBezTo>
                  <a:pt x="318" y="29"/>
                  <a:pt x="321" y="29"/>
                  <a:pt x="324" y="29"/>
                </a:cubicBezTo>
                <a:cubicBezTo>
                  <a:pt x="333" y="29"/>
                  <a:pt x="375" y="31"/>
                  <a:pt x="410" y="65"/>
                </a:cubicBezTo>
                <a:cubicBezTo>
                  <a:pt x="435" y="90"/>
                  <a:pt x="446" y="116"/>
                  <a:pt x="442" y="143"/>
                </a:cubicBezTo>
                <a:cubicBezTo>
                  <a:pt x="439" y="168"/>
                  <a:pt x="423" y="186"/>
                  <a:pt x="414" y="195"/>
                </a:cubicBezTo>
                <a:cubicBezTo>
                  <a:pt x="396" y="213"/>
                  <a:pt x="396" y="213"/>
                  <a:pt x="396" y="213"/>
                </a:cubicBezTo>
                <a:cubicBezTo>
                  <a:pt x="387" y="222"/>
                  <a:pt x="387" y="222"/>
                  <a:pt x="387" y="222"/>
                </a:cubicBezTo>
                <a:cubicBezTo>
                  <a:pt x="384" y="224"/>
                  <a:pt x="380" y="224"/>
                  <a:pt x="377" y="222"/>
                </a:cubicBezTo>
                <a:cubicBezTo>
                  <a:pt x="376" y="221"/>
                  <a:pt x="375" y="220"/>
                  <a:pt x="374" y="220"/>
                </a:cubicBezTo>
                <a:cubicBezTo>
                  <a:pt x="373" y="220"/>
                  <a:pt x="372" y="220"/>
                  <a:pt x="371" y="222"/>
                </a:cubicBezTo>
                <a:cubicBezTo>
                  <a:pt x="369" y="223"/>
                  <a:pt x="365" y="226"/>
                  <a:pt x="359" y="230"/>
                </a:cubicBezTo>
                <a:cubicBezTo>
                  <a:pt x="350" y="237"/>
                  <a:pt x="336" y="248"/>
                  <a:pt x="321" y="260"/>
                </a:cubicBezTo>
                <a:cubicBezTo>
                  <a:pt x="318" y="262"/>
                  <a:pt x="314" y="262"/>
                  <a:pt x="311" y="260"/>
                </a:cubicBezTo>
                <a:cubicBezTo>
                  <a:pt x="200" y="148"/>
                  <a:pt x="200" y="148"/>
                  <a:pt x="200" y="148"/>
                </a:cubicBezTo>
                <a:cubicBezTo>
                  <a:pt x="198" y="146"/>
                  <a:pt x="197" y="144"/>
                  <a:pt x="198" y="141"/>
                </a:cubicBezTo>
                <a:cubicBezTo>
                  <a:pt x="209" y="108"/>
                  <a:pt x="201" y="73"/>
                  <a:pt x="176" y="48"/>
                </a:cubicBezTo>
                <a:cubicBezTo>
                  <a:pt x="159" y="31"/>
                  <a:pt x="136" y="22"/>
                  <a:pt x="112" y="22"/>
                </a:cubicBezTo>
                <a:cubicBezTo>
                  <a:pt x="106" y="22"/>
                  <a:pt x="100" y="22"/>
                  <a:pt x="95" y="23"/>
                </a:cubicBezTo>
                <a:cubicBezTo>
                  <a:pt x="138" y="66"/>
                  <a:pt x="138" y="66"/>
                  <a:pt x="138" y="66"/>
                </a:cubicBezTo>
                <a:cubicBezTo>
                  <a:pt x="147" y="75"/>
                  <a:pt x="138" y="125"/>
                  <a:pt x="131" y="132"/>
                </a:cubicBezTo>
                <a:cubicBezTo>
                  <a:pt x="124" y="139"/>
                  <a:pt x="95" y="143"/>
                  <a:pt x="82" y="143"/>
                </a:cubicBezTo>
                <a:cubicBezTo>
                  <a:pt x="73" y="143"/>
                  <a:pt x="69" y="142"/>
                  <a:pt x="66" y="139"/>
                </a:cubicBezTo>
                <a:cubicBezTo>
                  <a:pt x="22" y="95"/>
                  <a:pt x="22" y="95"/>
                  <a:pt x="22" y="95"/>
                </a:cubicBezTo>
                <a:cubicBezTo>
                  <a:pt x="17" y="125"/>
                  <a:pt x="26" y="155"/>
                  <a:pt x="47" y="177"/>
                </a:cubicBezTo>
                <a:cubicBezTo>
                  <a:pt x="65" y="194"/>
                  <a:pt x="87" y="204"/>
                  <a:pt x="112" y="204"/>
                </a:cubicBezTo>
                <a:cubicBezTo>
                  <a:pt x="121" y="204"/>
                  <a:pt x="131" y="202"/>
                  <a:pt x="140" y="199"/>
                </a:cubicBezTo>
                <a:cubicBezTo>
                  <a:pt x="143" y="198"/>
                  <a:pt x="145" y="199"/>
                  <a:pt x="147" y="201"/>
                </a:cubicBezTo>
                <a:cubicBezTo>
                  <a:pt x="255" y="308"/>
                  <a:pt x="255" y="308"/>
                  <a:pt x="255" y="308"/>
                </a:cubicBezTo>
                <a:cubicBezTo>
                  <a:pt x="258" y="311"/>
                  <a:pt x="258" y="315"/>
                  <a:pt x="255" y="318"/>
                </a:cubicBezTo>
                <a:cubicBezTo>
                  <a:pt x="243" y="331"/>
                  <a:pt x="230" y="346"/>
                  <a:pt x="217" y="360"/>
                </a:cubicBezTo>
                <a:cubicBezTo>
                  <a:pt x="201" y="378"/>
                  <a:pt x="186" y="395"/>
                  <a:pt x="173" y="408"/>
                </a:cubicBezTo>
                <a:cubicBezTo>
                  <a:pt x="152" y="428"/>
                  <a:pt x="116" y="452"/>
                  <a:pt x="98" y="464"/>
                </a:cubicBezTo>
                <a:cubicBezTo>
                  <a:pt x="95" y="466"/>
                  <a:pt x="91" y="468"/>
                  <a:pt x="89" y="469"/>
                </a:cubicBezTo>
                <a:cubicBezTo>
                  <a:pt x="89" y="472"/>
                  <a:pt x="89" y="479"/>
                  <a:pt x="90" y="481"/>
                </a:cubicBezTo>
                <a:cubicBezTo>
                  <a:pt x="95" y="486"/>
                  <a:pt x="142" y="533"/>
                  <a:pt x="142" y="533"/>
                </a:cubicBezTo>
                <a:cubicBezTo>
                  <a:pt x="154" y="545"/>
                  <a:pt x="164" y="555"/>
                  <a:pt x="166" y="557"/>
                </a:cubicBezTo>
                <a:cubicBezTo>
                  <a:pt x="167" y="558"/>
                  <a:pt x="169" y="558"/>
                  <a:pt x="172" y="558"/>
                </a:cubicBezTo>
                <a:cubicBezTo>
                  <a:pt x="175" y="558"/>
                  <a:pt x="177" y="558"/>
                  <a:pt x="178" y="557"/>
                </a:cubicBezTo>
                <a:cubicBezTo>
                  <a:pt x="179" y="556"/>
                  <a:pt x="183" y="551"/>
                  <a:pt x="187" y="545"/>
                </a:cubicBezTo>
                <a:cubicBezTo>
                  <a:pt x="204" y="521"/>
                  <a:pt x="241" y="472"/>
                  <a:pt x="262" y="451"/>
                </a:cubicBezTo>
                <a:cubicBezTo>
                  <a:pt x="275" y="438"/>
                  <a:pt x="287" y="428"/>
                  <a:pt x="299" y="417"/>
                </a:cubicBezTo>
                <a:cubicBezTo>
                  <a:pt x="309" y="409"/>
                  <a:pt x="318" y="401"/>
                  <a:pt x="329" y="392"/>
                </a:cubicBezTo>
                <a:cubicBezTo>
                  <a:pt x="330" y="390"/>
                  <a:pt x="332" y="390"/>
                  <a:pt x="333" y="39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036AA44-6898-4820-BCE8-3018AE9DCD26}"/>
              </a:ext>
            </a:extLst>
          </p:cNvPr>
          <p:cNvGrpSpPr/>
          <p:nvPr/>
        </p:nvGrpSpPr>
        <p:grpSpPr>
          <a:xfrm>
            <a:off x="2047991" y="2828402"/>
            <a:ext cx="1531767" cy="1533600"/>
            <a:chOff x="1400198" y="1333762"/>
            <a:chExt cx="807030" cy="717376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3E38698E-FD10-4390-9E55-0B63B0EED499}"/>
                </a:ext>
              </a:extLst>
            </p:cNvPr>
            <p:cNvSpPr/>
            <p:nvPr/>
          </p:nvSpPr>
          <p:spPr>
            <a:xfrm>
              <a:off x="1400198" y="1333762"/>
              <a:ext cx="807030" cy="71737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noProof="0" err="1"/>
            </a:p>
          </p:txBody>
        </p:sp>
        <p:pic>
          <p:nvPicPr>
            <p:cNvPr id="45" name="Graphic 44" descr="Watering pot with solid fill">
              <a:extLst>
                <a:ext uri="{FF2B5EF4-FFF2-40B4-BE49-F238E27FC236}">
                  <a16:creationId xmlns:a16="http://schemas.microsoft.com/office/drawing/2014/main" id="{8EE4FE22-8ABB-4491-9DAE-1D43F74F9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16567" y="1377726"/>
              <a:ext cx="617712" cy="605533"/>
            </a:xfrm>
            <a:prstGeom prst="rect">
              <a:avLst/>
            </a:prstGeom>
          </p:spPr>
        </p:pic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A830CFD9-635D-48E4-AE01-59330CC0496A}"/>
              </a:ext>
            </a:extLst>
          </p:cNvPr>
          <p:cNvSpPr/>
          <p:nvPr/>
        </p:nvSpPr>
        <p:spPr>
          <a:xfrm>
            <a:off x="2047991" y="5366261"/>
            <a:ext cx="14867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/>
              <a:t>Nationale vækstfond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C33E226-8834-460B-845A-6F239AC201E9}"/>
              </a:ext>
            </a:extLst>
          </p:cNvPr>
          <p:cNvSpPr/>
          <p:nvPr/>
        </p:nvSpPr>
        <p:spPr>
          <a:xfrm>
            <a:off x="1624650" y="5366261"/>
            <a:ext cx="33995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700"/>
              <a:t>1</a:t>
            </a:r>
          </a:p>
        </p:txBody>
      </p:sp>
      <p:sp>
        <p:nvSpPr>
          <p:cNvPr id="51" name="Title 4">
            <a:extLst>
              <a:ext uri="{FF2B5EF4-FFF2-40B4-BE49-F238E27FC236}">
                <a16:creationId xmlns:a16="http://schemas.microsoft.com/office/drawing/2014/main" id="{BEC5D264-EB40-4DAA-9655-E2078E7138D4}"/>
              </a:ext>
            </a:extLst>
          </p:cNvPr>
          <p:cNvSpPr txBox="1">
            <a:spLocks/>
          </p:cNvSpPr>
          <p:nvPr/>
        </p:nvSpPr>
        <p:spPr>
          <a:xfrm>
            <a:off x="358775" y="39103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Den første løsningsmodel, som ekspertinterviews med Nederlandene, Tyskland og Sverige har identificeret, er nationale vækstfonde</a:t>
            </a:r>
          </a:p>
        </p:txBody>
      </p:sp>
    </p:spTree>
    <p:extLst>
      <p:ext uri="{BB962C8B-B14F-4D97-AF65-F5344CB8AC3E}">
        <p14:creationId xmlns:p14="http://schemas.microsoft.com/office/powerpoint/2010/main" val="1550473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BF4AE4-62CF-44FB-81EC-57A6FA72D8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8654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3" imgH="463" progId="TCLayout.ActiveDocument.1">
                  <p:embed/>
                </p:oleObj>
              </mc:Choice>
              <mc:Fallback>
                <p:oleObj name="think-cell Slide" r:id="rId4" imgW="463" imgH="46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BF4AE4-62CF-44FB-81EC-57A6FA72D8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8F73D8-A9A5-4275-971A-6DCDA5442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3272799" cy="748627"/>
          </a:xfrm>
        </p:spPr>
        <p:txBody>
          <a:bodyPr vert="horz"/>
          <a:lstStyle/>
          <a:p>
            <a:r>
              <a:rPr lang="da-DK" sz="3600"/>
              <a:t>må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98B3C9-E777-4180-9639-D75548054F4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798617" y="1644652"/>
            <a:ext cx="3726662" cy="4062413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Vores opgave var at: </a:t>
            </a:r>
          </a:p>
          <a:p>
            <a:r>
              <a:rPr lang="da-DK" dirty="0"/>
              <a:t>skabe et </a:t>
            </a:r>
            <a:r>
              <a:rPr lang="da-DK" b="1" dirty="0"/>
              <a:t>overblik over</a:t>
            </a:r>
            <a:r>
              <a:rPr lang="da-DK" dirty="0"/>
              <a:t>,</a:t>
            </a:r>
            <a:r>
              <a:rPr lang="da-DK" b="1" dirty="0"/>
              <a:t> </a:t>
            </a:r>
            <a:r>
              <a:rPr lang="da-DK" dirty="0"/>
              <a:t>hvilke faciliteter der findes i Danmark </a:t>
            </a:r>
          </a:p>
          <a:p>
            <a:r>
              <a:rPr lang="da-DK" dirty="0"/>
              <a:t>udvikle den digitale løsning, som kunne gøre data om faciliteterne </a:t>
            </a:r>
            <a:r>
              <a:rPr lang="da-DK" b="1" dirty="0"/>
              <a:t>tilgængelig</a:t>
            </a:r>
            <a:r>
              <a:rPr lang="da-DK" dirty="0"/>
              <a:t> på en god måde</a:t>
            </a:r>
          </a:p>
          <a:p>
            <a:r>
              <a:rPr lang="da-DK" dirty="0"/>
              <a:t>undersøge, om der er et </a:t>
            </a:r>
            <a:r>
              <a:rPr lang="da-DK" b="1" dirty="0" err="1"/>
              <a:t>gap</a:t>
            </a:r>
            <a:r>
              <a:rPr lang="da-DK" dirty="0"/>
              <a:t> mellem udbud og efterspørgsel af facilitet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77830EB-C68B-4F1E-9FDA-B57A03175F39}"/>
              </a:ext>
            </a:extLst>
          </p:cNvPr>
          <p:cNvGrpSpPr/>
          <p:nvPr/>
        </p:nvGrpSpPr>
        <p:grpSpPr>
          <a:xfrm>
            <a:off x="5029200" y="808868"/>
            <a:ext cx="7859486" cy="4898197"/>
            <a:chOff x="5029200" y="808868"/>
            <a:chExt cx="7859486" cy="489819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9A7076B-EB5D-496E-B002-E4AF2808CED5}"/>
                </a:ext>
              </a:extLst>
            </p:cNvPr>
            <p:cNvSpPr/>
            <p:nvPr/>
          </p:nvSpPr>
          <p:spPr>
            <a:xfrm>
              <a:off x="5588000" y="1422400"/>
              <a:ext cx="7300686" cy="37909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" name="Content Placeholder 2">
              <a:extLst>
                <a:ext uri="{FF2B5EF4-FFF2-40B4-BE49-F238E27FC236}">
                  <a16:creationId xmlns:a16="http://schemas.microsoft.com/office/drawing/2014/main" id="{D2E17C77-9B40-40C2-AAD5-F8D9976363A4}"/>
                </a:ext>
              </a:extLst>
            </p:cNvPr>
            <p:cNvSpPr txBox="1">
              <a:spLocks/>
            </p:cNvSpPr>
            <p:nvPr/>
          </p:nvSpPr>
          <p:spPr>
            <a:xfrm>
              <a:off x="6340731" y="1644652"/>
              <a:ext cx="5047890" cy="4062413"/>
            </a:xfrm>
            <a:prstGeom prst="rect">
              <a:avLst/>
            </a:prstGeom>
          </p:spPr>
          <p:txBody>
            <a:bodyPr/>
            <a:lstStyle>
              <a:lvl1pPr marL="251950" indent="-25195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Verdana" pitchFamily="34" charset="0"/>
                <a:buChar char="•"/>
                <a:defRPr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Verdana" pitchFamily="34" charset="0"/>
                </a:defRPr>
              </a:lvl1pPr>
              <a:lvl2pPr marL="647870" indent="-25195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Verdana" pitchFamily="34" charset="0"/>
                <a:buChar char="•"/>
                <a:defRPr sz="1600"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2pPr>
              <a:lvl3pPr marL="979004" indent="-25195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Verdana" pitchFamily="34" charset="0"/>
                <a:buChar char="•"/>
                <a:defRPr sz="1400"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3pPr>
              <a:lvl4pPr marL="0" indent="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  <a:defRPr sz="1800"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4pPr>
              <a:lvl5pPr marL="0" indent="0" algn="l" defTabSz="457098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  <a:defRPr sz="4799" b="1" kern="1200" cap="all" spc="-10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5pPr>
              <a:lvl6pPr marL="0" indent="0" algn="l" defTabSz="457098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1800" b="1" kern="1200" cap="all" spc="-5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457098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  <a:defRPr sz="1800" i="0" kern="1200" spc="-5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7pPr>
              <a:lvl8pPr marL="647870" indent="-251950" algn="l" defTabSz="457098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+mj-lt"/>
                <a:buAutoNum type="arabicPeriod"/>
                <a:defRPr sz="1600" kern="1200" spc="-5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47870" indent="-251950" algn="l" defTabSz="457098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+mj-lt"/>
                <a:buAutoNum type="alphaUcPeriod"/>
                <a:defRPr sz="1600" kern="1200" spc="-5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Verdana" pitchFamily="34" charset="0"/>
                <a:buNone/>
              </a:pPr>
              <a:r>
                <a:rPr lang="da-DK" sz="5600" b="1">
                  <a:solidFill>
                    <a:schemeClr val="bg1"/>
                  </a:solidFill>
                </a:rPr>
                <a:t>1. </a:t>
              </a:r>
              <a:r>
                <a:rPr lang="da-DK">
                  <a:solidFill>
                    <a:schemeClr val="bg1"/>
                  </a:solidFill>
                </a:rPr>
                <a:t>KVALIFICERING</a:t>
              </a:r>
            </a:p>
            <a:p>
              <a:pPr marL="0" indent="0">
                <a:buFont typeface="Verdana" pitchFamily="34" charset="0"/>
                <a:buNone/>
              </a:pPr>
              <a:r>
                <a:rPr lang="da-DK" sz="5600" b="1">
                  <a:solidFill>
                    <a:schemeClr val="bg1"/>
                  </a:solidFill>
                </a:rPr>
                <a:t>2. </a:t>
              </a:r>
              <a:r>
                <a:rPr lang="da-DK">
                  <a:solidFill>
                    <a:schemeClr val="bg1"/>
                  </a:solidFill>
                </a:rPr>
                <a:t>INDSAMLING AF DATA</a:t>
              </a:r>
            </a:p>
            <a:p>
              <a:pPr marL="0" indent="0">
                <a:buFont typeface="Verdana" pitchFamily="34" charset="0"/>
                <a:buNone/>
              </a:pPr>
              <a:r>
                <a:rPr lang="da-DK" sz="5600" b="1">
                  <a:solidFill>
                    <a:schemeClr val="bg1"/>
                  </a:solidFill>
                </a:rPr>
                <a:t>3. </a:t>
              </a:r>
              <a:r>
                <a:rPr lang="da-DK">
                  <a:solidFill>
                    <a:schemeClr val="bg1"/>
                  </a:solidFill>
                </a:rPr>
                <a:t>UDVIKLING AF DIGITALT VÆRKTØJ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7018CD4-C14F-462D-9D32-30B60B89AE66}"/>
                </a:ext>
              </a:extLst>
            </p:cNvPr>
            <p:cNvSpPr/>
            <p:nvPr/>
          </p:nvSpPr>
          <p:spPr>
            <a:xfrm>
              <a:off x="5029200" y="808868"/>
              <a:ext cx="3496097" cy="74862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Title 1">
              <a:extLst>
                <a:ext uri="{FF2B5EF4-FFF2-40B4-BE49-F238E27FC236}">
                  <a16:creationId xmlns:a16="http://schemas.microsoft.com/office/drawing/2014/main" id="{A6FB3BE2-C234-44F8-A2BA-BB3E4418A91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252498" y="852446"/>
              <a:ext cx="3272799" cy="748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1800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algn="l" defTabSz="457098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 kern="1200" cap="all" spc="-50" baseline="0">
                  <a:solidFill>
                    <a:schemeClr val="tx2"/>
                  </a:solidFill>
                  <a:latin typeface="Verdana"/>
                  <a:ea typeface="Verdana" pitchFamily="34" charset="0"/>
                  <a:cs typeface="Verdana" pitchFamily="34" charset="0"/>
                </a:defRPr>
              </a:lvl1pPr>
              <a:lvl2pPr algn="l" defTabSz="457098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Verdana" pitchFamily="-111" charset="0"/>
                  <a:ea typeface="Verdana" pitchFamily="34" charset="0"/>
                  <a:cs typeface="Verdana" pitchFamily="34" charset="0"/>
                </a:defRPr>
              </a:lvl2pPr>
              <a:lvl3pPr algn="l" defTabSz="457098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Verdana" pitchFamily="-111" charset="0"/>
                  <a:ea typeface="Verdana" pitchFamily="34" charset="0"/>
                  <a:cs typeface="Verdana" pitchFamily="34" charset="0"/>
                </a:defRPr>
              </a:lvl3pPr>
              <a:lvl4pPr algn="l" defTabSz="457098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Verdana" pitchFamily="-111" charset="0"/>
                  <a:ea typeface="Verdana" pitchFamily="34" charset="0"/>
                  <a:cs typeface="Verdana" pitchFamily="34" charset="0"/>
                </a:defRPr>
              </a:lvl4pPr>
              <a:lvl5pPr algn="l" defTabSz="457098" rtl="0" eaLnBrk="1" fontAlgn="base" hangingPunct="1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2"/>
                  </a:solidFill>
                  <a:latin typeface="Verdana" pitchFamily="-111" charset="0"/>
                  <a:ea typeface="Verdana" pitchFamily="34" charset="0"/>
                  <a:cs typeface="Verdana" pitchFamily="34" charset="0"/>
                </a:defRPr>
              </a:lvl5pPr>
              <a:lvl6pPr marL="457098" algn="l" defTabSz="457098" rtl="0" eaLnBrk="1" fontAlgn="base" hangingPunct="1">
                <a:spcBef>
                  <a:spcPct val="0"/>
                </a:spcBef>
                <a:spcAft>
                  <a:spcPct val="0"/>
                </a:spcAft>
                <a:defRPr sz="3199" b="1">
                  <a:solidFill>
                    <a:schemeClr val="bg1"/>
                  </a:solidFill>
                  <a:latin typeface="Verdana" pitchFamily="-111" charset="0"/>
                  <a:ea typeface="Verdana" pitchFamily="34" charset="0"/>
                  <a:cs typeface="Verdana" pitchFamily="34" charset="0"/>
                </a:defRPr>
              </a:lvl6pPr>
              <a:lvl7pPr marL="914194" algn="l" defTabSz="457098" rtl="0" eaLnBrk="1" fontAlgn="base" hangingPunct="1">
                <a:spcBef>
                  <a:spcPct val="0"/>
                </a:spcBef>
                <a:spcAft>
                  <a:spcPct val="0"/>
                </a:spcAft>
                <a:defRPr sz="3199" b="1">
                  <a:solidFill>
                    <a:schemeClr val="bg1"/>
                  </a:solidFill>
                  <a:latin typeface="Verdana" pitchFamily="-111" charset="0"/>
                  <a:ea typeface="Verdana" pitchFamily="34" charset="0"/>
                  <a:cs typeface="Verdana" pitchFamily="34" charset="0"/>
                </a:defRPr>
              </a:lvl7pPr>
              <a:lvl8pPr marL="1371292" algn="l" defTabSz="457098" rtl="0" eaLnBrk="1" fontAlgn="base" hangingPunct="1">
                <a:spcBef>
                  <a:spcPct val="0"/>
                </a:spcBef>
                <a:spcAft>
                  <a:spcPct val="0"/>
                </a:spcAft>
                <a:defRPr sz="3199" b="1">
                  <a:solidFill>
                    <a:schemeClr val="bg1"/>
                  </a:solidFill>
                  <a:latin typeface="Verdana" pitchFamily="-111" charset="0"/>
                  <a:ea typeface="Verdana" pitchFamily="34" charset="0"/>
                  <a:cs typeface="Verdana" pitchFamily="34" charset="0"/>
                </a:defRPr>
              </a:lvl8pPr>
              <a:lvl9pPr marL="1828388" algn="l" defTabSz="457098" rtl="0" eaLnBrk="1" fontAlgn="base" hangingPunct="1">
                <a:spcBef>
                  <a:spcPct val="0"/>
                </a:spcBef>
                <a:spcAft>
                  <a:spcPct val="0"/>
                </a:spcAft>
                <a:defRPr sz="3199" b="1">
                  <a:solidFill>
                    <a:schemeClr val="bg1"/>
                  </a:solidFill>
                  <a:latin typeface="Verdana" pitchFamily="-111" charset="0"/>
                  <a:ea typeface="Verdana" pitchFamily="34" charset="0"/>
                  <a:cs typeface="Verdana" pitchFamily="34" charset="0"/>
                </a:defRPr>
              </a:lvl9pPr>
            </a:lstStyle>
            <a:p>
              <a:r>
                <a:rPr lang="da-DK" sz="3600"/>
                <a:t>Process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4303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9123120-DD0A-4495-8D0A-C6430DD518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9123120-DD0A-4495-8D0A-C6430DD518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/>
          <p:cNvSpPr/>
          <p:nvPr/>
        </p:nvSpPr>
        <p:spPr>
          <a:xfrm>
            <a:off x="4281479" y="2268509"/>
            <a:ext cx="2880000" cy="288000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/>
          <p:cNvSpPr/>
          <p:nvPr/>
        </p:nvSpPr>
        <p:spPr>
          <a:xfrm rot="10800000">
            <a:off x="4273015" y="2152649"/>
            <a:ext cx="2897845" cy="2995859"/>
          </a:xfrm>
          <a:prstGeom prst="arc">
            <a:avLst>
              <a:gd name="adj1" fmla="val 10766207"/>
              <a:gd name="adj2" fmla="val 42003"/>
            </a:avLst>
          </a:prstGeom>
          <a:ln w="69850" cap="flat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/>
          <p:cNvSpPr/>
          <p:nvPr/>
        </p:nvSpPr>
        <p:spPr>
          <a:xfrm>
            <a:off x="1417434" y="2225127"/>
            <a:ext cx="2855624" cy="288000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/>
          <p:cNvSpPr/>
          <p:nvPr/>
        </p:nvSpPr>
        <p:spPr>
          <a:xfrm>
            <a:off x="1416475" y="2225128"/>
            <a:ext cx="2855624" cy="2879999"/>
          </a:xfrm>
          <a:prstGeom prst="arc">
            <a:avLst>
              <a:gd name="adj1" fmla="val 10769546"/>
              <a:gd name="adj2" fmla="val 21549802"/>
            </a:avLst>
          </a:prstGeom>
          <a:ln w="69850" cap="flat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7153016" y="2387056"/>
            <a:ext cx="2880000" cy="288000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c 8"/>
          <p:cNvSpPr/>
          <p:nvPr/>
        </p:nvSpPr>
        <p:spPr>
          <a:xfrm>
            <a:off x="7153016" y="2387054"/>
            <a:ext cx="2888463" cy="2880000"/>
          </a:xfrm>
          <a:prstGeom prst="arc">
            <a:avLst>
              <a:gd name="adj1" fmla="val 10766207"/>
              <a:gd name="adj2" fmla="val 0"/>
            </a:avLst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40" name="Freeform 149"/>
          <p:cNvSpPr>
            <a:spLocks noEditPoints="1"/>
          </p:cNvSpPr>
          <p:nvPr/>
        </p:nvSpPr>
        <p:spPr bwMode="auto">
          <a:xfrm>
            <a:off x="5278334" y="3161231"/>
            <a:ext cx="400546" cy="503896"/>
          </a:xfrm>
          <a:custGeom>
            <a:avLst/>
            <a:gdLst>
              <a:gd name="T0" fmla="*/ 463 w 467"/>
              <a:gd name="T1" fmla="*/ 291 h 569"/>
              <a:gd name="T2" fmla="*/ 452 w 467"/>
              <a:gd name="T3" fmla="*/ 291 h 569"/>
              <a:gd name="T4" fmla="*/ 359 w 467"/>
              <a:gd name="T5" fmla="*/ 291 h 569"/>
              <a:gd name="T6" fmla="*/ 348 w 467"/>
              <a:gd name="T7" fmla="*/ 291 h 569"/>
              <a:gd name="T8" fmla="*/ 394 w 467"/>
              <a:gd name="T9" fmla="*/ 233 h 569"/>
              <a:gd name="T10" fmla="*/ 348 w 467"/>
              <a:gd name="T11" fmla="*/ 176 h 569"/>
              <a:gd name="T12" fmla="*/ 406 w 467"/>
              <a:gd name="T13" fmla="*/ 222 h 569"/>
              <a:gd name="T14" fmla="*/ 463 w 467"/>
              <a:gd name="T15" fmla="*/ 176 h 569"/>
              <a:gd name="T16" fmla="*/ 417 w 467"/>
              <a:gd name="T17" fmla="*/ 233 h 569"/>
              <a:gd name="T18" fmla="*/ 340 w 467"/>
              <a:gd name="T19" fmla="*/ 3 h 569"/>
              <a:gd name="T20" fmla="*/ 282 w 467"/>
              <a:gd name="T21" fmla="*/ 50 h 569"/>
              <a:gd name="T22" fmla="*/ 224 w 467"/>
              <a:gd name="T23" fmla="*/ 3 h 569"/>
              <a:gd name="T24" fmla="*/ 271 w 467"/>
              <a:gd name="T25" fmla="*/ 61 h 569"/>
              <a:gd name="T26" fmla="*/ 224 w 467"/>
              <a:gd name="T27" fmla="*/ 119 h 569"/>
              <a:gd name="T28" fmla="*/ 236 w 467"/>
              <a:gd name="T29" fmla="*/ 119 h 569"/>
              <a:gd name="T30" fmla="*/ 328 w 467"/>
              <a:gd name="T31" fmla="*/ 119 h 569"/>
              <a:gd name="T32" fmla="*/ 340 w 467"/>
              <a:gd name="T33" fmla="*/ 119 h 569"/>
              <a:gd name="T34" fmla="*/ 293 w 467"/>
              <a:gd name="T35" fmla="*/ 61 h 569"/>
              <a:gd name="T36" fmla="*/ 340 w 467"/>
              <a:gd name="T37" fmla="*/ 3 h 569"/>
              <a:gd name="T38" fmla="*/ 108 w 467"/>
              <a:gd name="T39" fmla="*/ 348 h 569"/>
              <a:gd name="T40" fmla="*/ 15 w 467"/>
              <a:gd name="T41" fmla="*/ 348 h 569"/>
              <a:gd name="T42" fmla="*/ 3 w 467"/>
              <a:gd name="T43" fmla="*/ 359 h 569"/>
              <a:gd name="T44" fmla="*/ 3 w 467"/>
              <a:gd name="T45" fmla="*/ 452 h 569"/>
              <a:gd name="T46" fmla="*/ 9 w 467"/>
              <a:gd name="T47" fmla="*/ 466 h 569"/>
              <a:gd name="T48" fmla="*/ 61 w 467"/>
              <a:gd name="T49" fmla="*/ 417 h 569"/>
              <a:gd name="T50" fmla="*/ 113 w 467"/>
              <a:gd name="T51" fmla="*/ 466 h 569"/>
              <a:gd name="T52" fmla="*/ 119 w 467"/>
              <a:gd name="T53" fmla="*/ 452 h 569"/>
              <a:gd name="T54" fmla="*/ 119 w 467"/>
              <a:gd name="T55" fmla="*/ 359 h 569"/>
              <a:gd name="T56" fmla="*/ 332 w 467"/>
              <a:gd name="T57" fmla="*/ 509 h 569"/>
              <a:gd name="T58" fmla="*/ 212 w 467"/>
              <a:gd name="T59" fmla="*/ 509 h 569"/>
              <a:gd name="T60" fmla="*/ 264 w 467"/>
              <a:gd name="T61" fmla="*/ 374 h 569"/>
              <a:gd name="T62" fmla="*/ 42 w 467"/>
              <a:gd name="T63" fmla="*/ 254 h 569"/>
              <a:gd name="T64" fmla="*/ 26 w 467"/>
              <a:gd name="T65" fmla="*/ 254 h 569"/>
              <a:gd name="T66" fmla="*/ 26 w 467"/>
              <a:gd name="T67" fmla="*/ 131 h 569"/>
              <a:gd name="T68" fmla="*/ 27 w 467"/>
              <a:gd name="T69" fmla="*/ 130 h 569"/>
              <a:gd name="T70" fmla="*/ 28 w 467"/>
              <a:gd name="T71" fmla="*/ 128 h 569"/>
              <a:gd name="T72" fmla="*/ 30 w 467"/>
              <a:gd name="T73" fmla="*/ 126 h 569"/>
              <a:gd name="T74" fmla="*/ 32 w 467"/>
              <a:gd name="T75" fmla="*/ 125 h 569"/>
              <a:gd name="T76" fmla="*/ 34 w 467"/>
              <a:gd name="T77" fmla="*/ 125 h 569"/>
              <a:gd name="T78" fmla="*/ 34 w 467"/>
              <a:gd name="T79" fmla="*/ 125 h 569"/>
              <a:gd name="T80" fmla="*/ 34 w 467"/>
              <a:gd name="T81" fmla="*/ 125 h 569"/>
              <a:gd name="T82" fmla="*/ 163 w 467"/>
              <a:gd name="T83" fmla="*/ 133 h 569"/>
              <a:gd name="T84" fmla="*/ 53 w 467"/>
              <a:gd name="T85" fmla="*/ 141 h 569"/>
              <a:gd name="T86" fmla="*/ 280 w 467"/>
              <a:gd name="T87" fmla="*/ 371 h 569"/>
              <a:gd name="T88" fmla="*/ 332 w 467"/>
              <a:gd name="T89" fmla="*/ 509 h 569"/>
              <a:gd name="T90" fmla="*/ 272 w 467"/>
              <a:gd name="T91" fmla="*/ 466 h 569"/>
              <a:gd name="T92" fmla="*/ 272 w 467"/>
              <a:gd name="T93" fmla="*/ 553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7" h="569">
                <a:moveTo>
                  <a:pt x="463" y="280"/>
                </a:moveTo>
                <a:cubicBezTo>
                  <a:pt x="467" y="283"/>
                  <a:pt x="467" y="288"/>
                  <a:pt x="463" y="291"/>
                </a:cubicBezTo>
                <a:cubicBezTo>
                  <a:pt x="462" y="293"/>
                  <a:pt x="460" y="294"/>
                  <a:pt x="458" y="294"/>
                </a:cubicBezTo>
                <a:cubicBezTo>
                  <a:pt x="456" y="294"/>
                  <a:pt x="454" y="293"/>
                  <a:pt x="452" y="291"/>
                </a:cubicBezTo>
                <a:cubicBezTo>
                  <a:pt x="406" y="245"/>
                  <a:pt x="406" y="245"/>
                  <a:pt x="406" y="245"/>
                </a:cubicBezTo>
                <a:cubicBezTo>
                  <a:pt x="359" y="291"/>
                  <a:pt x="359" y="291"/>
                  <a:pt x="359" y="291"/>
                </a:cubicBezTo>
                <a:cubicBezTo>
                  <a:pt x="358" y="293"/>
                  <a:pt x="356" y="294"/>
                  <a:pt x="354" y="294"/>
                </a:cubicBezTo>
                <a:cubicBezTo>
                  <a:pt x="352" y="294"/>
                  <a:pt x="349" y="293"/>
                  <a:pt x="348" y="291"/>
                </a:cubicBezTo>
                <a:cubicBezTo>
                  <a:pt x="345" y="288"/>
                  <a:pt x="345" y="283"/>
                  <a:pt x="348" y="280"/>
                </a:cubicBezTo>
                <a:cubicBezTo>
                  <a:pt x="394" y="233"/>
                  <a:pt x="394" y="233"/>
                  <a:pt x="394" y="233"/>
                </a:cubicBezTo>
                <a:cubicBezTo>
                  <a:pt x="348" y="187"/>
                  <a:pt x="348" y="187"/>
                  <a:pt x="348" y="187"/>
                </a:cubicBezTo>
                <a:cubicBezTo>
                  <a:pt x="345" y="184"/>
                  <a:pt x="345" y="179"/>
                  <a:pt x="348" y="176"/>
                </a:cubicBezTo>
                <a:cubicBezTo>
                  <a:pt x="351" y="173"/>
                  <a:pt x="356" y="173"/>
                  <a:pt x="359" y="176"/>
                </a:cubicBezTo>
                <a:cubicBezTo>
                  <a:pt x="406" y="222"/>
                  <a:pt x="406" y="222"/>
                  <a:pt x="406" y="222"/>
                </a:cubicBezTo>
                <a:cubicBezTo>
                  <a:pt x="452" y="176"/>
                  <a:pt x="452" y="176"/>
                  <a:pt x="452" y="176"/>
                </a:cubicBezTo>
                <a:cubicBezTo>
                  <a:pt x="455" y="173"/>
                  <a:pt x="460" y="173"/>
                  <a:pt x="463" y="176"/>
                </a:cubicBezTo>
                <a:cubicBezTo>
                  <a:pt x="467" y="179"/>
                  <a:pt x="467" y="184"/>
                  <a:pt x="463" y="187"/>
                </a:cubicBezTo>
                <a:cubicBezTo>
                  <a:pt x="417" y="233"/>
                  <a:pt x="417" y="233"/>
                  <a:pt x="417" y="233"/>
                </a:cubicBezTo>
                <a:lnTo>
                  <a:pt x="463" y="280"/>
                </a:lnTo>
                <a:close/>
                <a:moveTo>
                  <a:pt x="340" y="3"/>
                </a:moveTo>
                <a:cubicBezTo>
                  <a:pt x="337" y="0"/>
                  <a:pt x="332" y="0"/>
                  <a:pt x="328" y="3"/>
                </a:cubicBezTo>
                <a:cubicBezTo>
                  <a:pt x="282" y="50"/>
                  <a:pt x="282" y="50"/>
                  <a:pt x="282" y="50"/>
                </a:cubicBezTo>
                <a:cubicBezTo>
                  <a:pt x="236" y="3"/>
                  <a:pt x="236" y="3"/>
                  <a:pt x="236" y="3"/>
                </a:cubicBezTo>
                <a:cubicBezTo>
                  <a:pt x="232" y="0"/>
                  <a:pt x="227" y="0"/>
                  <a:pt x="224" y="3"/>
                </a:cubicBezTo>
                <a:cubicBezTo>
                  <a:pt x="221" y="6"/>
                  <a:pt x="221" y="12"/>
                  <a:pt x="224" y="15"/>
                </a:cubicBezTo>
                <a:cubicBezTo>
                  <a:pt x="271" y="61"/>
                  <a:pt x="271" y="61"/>
                  <a:pt x="271" y="61"/>
                </a:cubicBezTo>
                <a:cubicBezTo>
                  <a:pt x="224" y="108"/>
                  <a:pt x="224" y="108"/>
                  <a:pt x="224" y="108"/>
                </a:cubicBezTo>
                <a:cubicBezTo>
                  <a:pt x="221" y="111"/>
                  <a:pt x="221" y="116"/>
                  <a:pt x="224" y="119"/>
                </a:cubicBezTo>
                <a:cubicBezTo>
                  <a:pt x="226" y="120"/>
                  <a:pt x="228" y="121"/>
                  <a:pt x="230" y="121"/>
                </a:cubicBezTo>
                <a:cubicBezTo>
                  <a:pt x="232" y="121"/>
                  <a:pt x="234" y="120"/>
                  <a:pt x="236" y="119"/>
                </a:cubicBezTo>
                <a:cubicBezTo>
                  <a:pt x="282" y="72"/>
                  <a:pt x="282" y="72"/>
                  <a:pt x="282" y="72"/>
                </a:cubicBezTo>
                <a:cubicBezTo>
                  <a:pt x="328" y="119"/>
                  <a:pt x="328" y="119"/>
                  <a:pt x="328" y="119"/>
                </a:cubicBezTo>
                <a:cubicBezTo>
                  <a:pt x="330" y="120"/>
                  <a:pt x="332" y="121"/>
                  <a:pt x="334" y="121"/>
                </a:cubicBezTo>
                <a:cubicBezTo>
                  <a:pt x="336" y="121"/>
                  <a:pt x="338" y="120"/>
                  <a:pt x="340" y="119"/>
                </a:cubicBezTo>
                <a:cubicBezTo>
                  <a:pt x="343" y="116"/>
                  <a:pt x="343" y="111"/>
                  <a:pt x="340" y="108"/>
                </a:cubicBezTo>
                <a:cubicBezTo>
                  <a:pt x="293" y="61"/>
                  <a:pt x="293" y="61"/>
                  <a:pt x="293" y="61"/>
                </a:cubicBezTo>
                <a:cubicBezTo>
                  <a:pt x="340" y="15"/>
                  <a:pt x="340" y="15"/>
                  <a:pt x="340" y="15"/>
                </a:cubicBezTo>
                <a:cubicBezTo>
                  <a:pt x="343" y="12"/>
                  <a:pt x="343" y="6"/>
                  <a:pt x="340" y="3"/>
                </a:cubicBezTo>
                <a:close/>
                <a:moveTo>
                  <a:pt x="119" y="348"/>
                </a:moveTo>
                <a:cubicBezTo>
                  <a:pt x="116" y="345"/>
                  <a:pt x="111" y="345"/>
                  <a:pt x="108" y="348"/>
                </a:cubicBezTo>
                <a:cubicBezTo>
                  <a:pt x="61" y="394"/>
                  <a:pt x="61" y="394"/>
                  <a:pt x="61" y="394"/>
                </a:cubicBezTo>
                <a:cubicBezTo>
                  <a:pt x="15" y="348"/>
                  <a:pt x="15" y="348"/>
                  <a:pt x="15" y="348"/>
                </a:cubicBezTo>
                <a:cubicBezTo>
                  <a:pt x="11" y="345"/>
                  <a:pt x="6" y="345"/>
                  <a:pt x="3" y="348"/>
                </a:cubicBezTo>
                <a:cubicBezTo>
                  <a:pt x="0" y="351"/>
                  <a:pt x="0" y="356"/>
                  <a:pt x="3" y="359"/>
                </a:cubicBezTo>
                <a:cubicBezTo>
                  <a:pt x="50" y="406"/>
                  <a:pt x="50" y="406"/>
                  <a:pt x="50" y="406"/>
                </a:cubicBezTo>
                <a:cubicBezTo>
                  <a:pt x="3" y="452"/>
                  <a:pt x="3" y="452"/>
                  <a:pt x="3" y="452"/>
                </a:cubicBezTo>
                <a:cubicBezTo>
                  <a:pt x="0" y="455"/>
                  <a:pt x="0" y="460"/>
                  <a:pt x="3" y="463"/>
                </a:cubicBezTo>
                <a:cubicBezTo>
                  <a:pt x="5" y="465"/>
                  <a:pt x="7" y="466"/>
                  <a:pt x="9" y="466"/>
                </a:cubicBezTo>
                <a:cubicBezTo>
                  <a:pt x="11" y="466"/>
                  <a:pt x="13" y="465"/>
                  <a:pt x="15" y="463"/>
                </a:cubicBezTo>
                <a:cubicBezTo>
                  <a:pt x="61" y="417"/>
                  <a:pt x="61" y="417"/>
                  <a:pt x="61" y="417"/>
                </a:cubicBezTo>
                <a:cubicBezTo>
                  <a:pt x="108" y="463"/>
                  <a:pt x="108" y="463"/>
                  <a:pt x="108" y="463"/>
                </a:cubicBezTo>
                <a:cubicBezTo>
                  <a:pt x="109" y="465"/>
                  <a:pt x="111" y="466"/>
                  <a:pt x="113" y="466"/>
                </a:cubicBezTo>
                <a:cubicBezTo>
                  <a:pt x="115" y="466"/>
                  <a:pt x="117" y="465"/>
                  <a:pt x="119" y="463"/>
                </a:cubicBezTo>
                <a:cubicBezTo>
                  <a:pt x="122" y="460"/>
                  <a:pt x="122" y="455"/>
                  <a:pt x="119" y="452"/>
                </a:cubicBezTo>
                <a:cubicBezTo>
                  <a:pt x="72" y="406"/>
                  <a:pt x="72" y="406"/>
                  <a:pt x="72" y="406"/>
                </a:cubicBezTo>
                <a:cubicBezTo>
                  <a:pt x="119" y="359"/>
                  <a:pt x="119" y="359"/>
                  <a:pt x="119" y="359"/>
                </a:cubicBezTo>
                <a:cubicBezTo>
                  <a:pt x="122" y="356"/>
                  <a:pt x="122" y="351"/>
                  <a:pt x="119" y="348"/>
                </a:cubicBezTo>
                <a:close/>
                <a:moveTo>
                  <a:pt x="332" y="509"/>
                </a:moveTo>
                <a:cubicBezTo>
                  <a:pt x="332" y="542"/>
                  <a:pt x="305" y="569"/>
                  <a:pt x="272" y="569"/>
                </a:cubicBezTo>
                <a:cubicBezTo>
                  <a:pt x="239" y="569"/>
                  <a:pt x="212" y="542"/>
                  <a:pt x="212" y="509"/>
                </a:cubicBezTo>
                <a:cubicBezTo>
                  <a:pt x="212" y="479"/>
                  <a:pt x="235" y="454"/>
                  <a:pt x="264" y="450"/>
                </a:cubicBezTo>
                <a:cubicBezTo>
                  <a:pt x="264" y="374"/>
                  <a:pt x="264" y="374"/>
                  <a:pt x="264" y="374"/>
                </a:cubicBezTo>
                <a:cubicBezTo>
                  <a:pt x="42" y="152"/>
                  <a:pt x="42" y="152"/>
                  <a:pt x="42" y="152"/>
                </a:cubicBezTo>
                <a:cubicBezTo>
                  <a:pt x="42" y="254"/>
                  <a:pt x="42" y="254"/>
                  <a:pt x="42" y="254"/>
                </a:cubicBezTo>
                <a:cubicBezTo>
                  <a:pt x="42" y="258"/>
                  <a:pt x="39" y="262"/>
                  <a:pt x="34" y="262"/>
                </a:cubicBezTo>
                <a:cubicBezTo>
                  <a:pt x="30" y="262"/>
                  <a:pt x="26" y="258"/>
                  <a:pt x="26" y="254"/>
                </a:cubicBezTo>
                <a:cubicBezTo>
                  <a:pt x="26" y="133"/>
                  <a:pt x="26" y="133"/>
                  <a:pt x="26" y="133"/>
                </a:cubicBezTo>
                <a:cubicBezTo>
                  <a:pt x="26" y="132"/>
                  <a:pt x="26" y="132"/>
                  <a:pt x="26" y="131"/>
                </a:cubicBezTo>
                <a:cubicBezTo>
                  <a:pt x="26" y="131"/>
                  <a:pt x="26" y="131"/>
                  <a:pt x="27" y="131"/>
                </a:cubicBezTo>
                <a:cubicBezTo>
                  <a:pt x="27" y="130"/>
                  <a:pt x="27" y="130"/>
                  <a:pt x="27" y="130"/>
                </a:cubicBezTo>
                <a:cubicBezTo>
                  <a:pt x="27" y="130"/>
                  <a:pt x="27" y="129"/>
                  <a:pt x="27" y="129"/>
                </a:cubicBezTo>
                <a:cubicBezTo>
                  <a:pt x="27" y="129"/>
                  <a:pt x="27" y="129"/>
                  <a:pt x="28" y="128"/>
                </a:cubicBezTo>
                <a:cubicBezTo>
                  <a:pt x="28" y="128"/>
                  <a:pt x="29" y="127"/>
                  <a:pt x="30" y="126"/>
                </a:cubicBezTo>
                <a:cubicBezTo>
                  <a:pt x="30" y="126"/>
                  <a:pt x="30" y="126"/>
                  <a:pt x="30" y="126"/>
                </a:cubicBezTo>
                <a:cubicBezTo>
                  <a:pt x="31" y="126"/>
                  <a:pt x="31" y="126"/>
                  <a:pt x="31" y="126"/>
                </a:cubicBezTo>
                <a:cubicBezTo>
                  <a:pt x="31" y="125"/>
                  <a:pt x="32" y="125"/>
                  <a:pt x="32" y="125"/>
                </a:cubicBezTo>
                <a:cubicBezTo>
                  <a:pt x="32" y="125"/>
                  <a:pt x="32" y="125"/>
                  <a:pt x="33" y="125"/>
                </a:cubicBezTo>
                <a:cubicBezTo>
                  <a:pt x="33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155" y="125"/>
                  <a:pt x="155" y="125"/>
                  <a:pt x="155" y="125"/>
                </a:cubicBezTo>
                <a:cubicBezTo>
                  <a:pt x="159" y="125"/>
                  <a:pt x="163" y="129"/>
                  <a:pt x="163" y="133"/>
                </a:cubicBezTo>
                <a:cubicBezTo>
                  <a:pt x="163" y="137"/>
                  <a:pt x="159" y="141"/>
                  <a:pt x="155" y="141"/>
                </a:cubicBezTo>
                <a:cubicBezTo>
                  <a:pt x="53" y="141"/>
                  <a:pt x="53" y="141"/>
                  <a:pt x="53" y="141"/>
                </a:cubicBezTo>
                <a:cubicBezTo>
                  <a:pt x="278" y="365"/>
                  <a:pt x="278" y="365"/>
                  <a:pt x="278" y="365"/>
                </a:cubicBezTo>
                <a:cubicBezTo>
                  <a:pt x="279" y="367"/>
                  <a:pt x="280" y="369"/>
                  <a:pt x="280" y="371"/>
                </a:cubicBezTo>
                <a:cubicBezTo>
                  <a:pt x="280" y="450"/>
                  <a:pt x="280" y="450"/>
                  <a:pt x="280" y="450"/>
                </a:cubicBezTo>
                <a:cubicBezTo>
                  <a:pt x="309" y="454"/>
                  <a:pt x="332" y="479"/>
                  <a:pt x="332" y="509"/>
                </a:cubicBezTo>
                <a:close/>
                <a:moveTo>
                  <a:pt x="316" y="509"/>
                </a:moveTo>
                <a:cubicBezTo>
                  <a:pt x="316" y="485"/>
                  <a:pt x="296" y="466"/>
                  <a:pt x="272" y="466"/>
                </a:cubicBezTo>
                <a:cubicBezTo>
                  <a:pt x="248" y="466"/>
                  <a:pt x="228" y="485"/>
                  <a:pt x="228" y="509"/>
                </a:cubicBezTo>
                <a:cubicBezTo>
                  <a:pt x="228" y="533"/>
                  <a:pt x="248" y="553"/>
                  <a:pt x="272" y="553"/>
                </a:cubicBezTo>
                <a:cubicBezTo>
                  <a:pt x="296" y="553"/>
                  <a:pt x="316" y="533"/>
                  <a:pt x="316" y="5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121"/>
          <p:cNvSpPr>
            <a:spLocks noEditPoints="1"/>
          </p:cNvSpPr>
          <p:nvPr/>
        </p:nvSpPr>
        <p:spPr bwMode="auto">
          <a:xfrm>
            <a:off x="8321307" y="2564905"/>
            <a:ext cx="402524" cy="327818"/>
          </a:xfrm>
          <a:custGeom>
            <a:avLst/>
            <a:gdLst>
              <a:gd name="T0" fmla="*/ 333 w 703"/>
              <a:gd name="T1" fmla="*/ 406 h 572"/>
              <a:gd name="T2" fmla="*/ 198 w 703"/>
              <a:gd name="T3" fmla="*/ 553 h 572"/>
              <a:gd name="T4" fmla="*/ 157 w 703"/>
              <a:gd name="T5" fmla="*/ 568 h 572"/>
              <a:gd name="T6" fmla="*/ 79 w 703"/>
              <a:gd name="T7" fmla="*/ 460 h 572"/>
              <a:gd name="T8" fmla="*/ 207 w 703"/>
              <a:gd name="T9" fmla="*/ 350 h 572"/>
              <a:gd name="T10" fmla="*/ 112 w 703"/>
              <a:gd name="T11" fmla="*/ 218 h 572"/>
              <a:gd name="T12" fmla="*/ 17 w 703"/>
              <a:gd name="T13" fmla="*/ 75 h 572"/>
              <a:gd name="T14" fmla="*/ 82 w 703"/>
              <a:gd name="T15" fmla="*/ 129 h 572"/>
              <a:gd name="T16" fmla="*/ 76 w 703"/>
              <a:gd name="T17" fmla="*/ 24 h 572"/>
              <a:gd name="T18" fmla="*/ 112 w 703"/>
              <a:gd name="T19" fmla="*/ 8 h 572"/>
              <a:gd name="T20" fmla="*/ 317 w 703"/>
              <a:gd name="T21" fmla="*/ 245 h 572"/>
              <a:gd name="T22" fmla="*/ 381 w 703"/>
              <a:gd name="T23" fmla="*/ 208 h 572"/>
              <a:gd name="T24" fmla="*/ 400 w 703"/>
              <a:gd name="T25" fmla="*/ 75 h 572"/>
              <a:gd name="T26" fmla="*/ 300 w 703"/>
              <a:gd name="T27" fmla="*/ 32 h 572"/>
              <a:gd name="T28" fmla="*/ 563 w 703"/>
              <a:gd name="T29" fmla="*/ 80 h 572"/>
              <a:gd name="T30" fmla="*/ 609 w 703"/>
              <a:gd name="T31" fmla="*/ 172 h 572"/>
              <a:gd name="T32" fmla="*/ 695 w 703"/>
              <a:gd name="T33" fmla="*/ 219 h 572"/>
              <a:gd name="T34" fmla="*/ 611 w 703"/>
              <a:gd name="T35" fmla="*/ 324 h 572"/>
              <a:gd name="T36" fmla="*/ 557 w 703"/>
              <a:gd name="T37" fmla="*/ 265 h 572"/>
              <a:gd name="T38" fmla="*/ 439 w 703"/>
              <a:gd name="T39" fmla="*/ 265 h 572"/>
              <a:gd name="T40" fmla="*/ 402 w 703"/>
              <a:gd name="T41" fmla="*/ 330 h 572"/>
              <a:gd name="T42" fmla="*/ 555 w 703"/>
              <a:gd name="T43" fmla="*/ 556 h 572"/>
              <a:gd name="T44" fmla="*/ 338 w 703"/>
              <a:gd name="T45" fmla="*/ 392 h 572"/>
              <a:gd name="T46" fmla="*/ 545 w 703"/>
              <a:gd name="T47" fmla="*/ 546 h 572"/>
              <a:gd name="T48" fmla="*/ 387 w 703"/>
              <a:gd name="T49" fmla="*/ 336 h 572"/>
              <a:gd name="T50" fmla="*/ 425 w 703"/>
              <a:gd name="T51" fmla="*/ 276 h 572"/>
              <a:gd name="T52" fmla="*/ 423 w 703"/>
              <a:gd name="T53" fmla="*/ 265 h 572"/>
              <a:gd name="T54" fmla="*/ 560 w 703"/>
              <a:gd name="T55" fmla="*/ 217 h 572"/>
              <a:gd name="T56" fmla="*/ 606 w 703"/>
              <a:gd name="T57" fmla="*/ 308 h 572"/>
              <a:gd name="T58" fmla="*/ 685 w 703"/>
              <a:gd name="T59" fmla="*/ 229 h 572"/>
              <a:gd name="T60" fmla="*/ 644 w 703"/>
              <a:gd name="T61" fmla="*/ 193 h 572"/>
              <a:gd name="T62" fmla="*/ 594 w 703"/>
              <a:gd name="T63" fmla="*/ 142 h 572"/>
              <a:gd name="T64" fmla="*/ 314 w 703"/>
              <a:gd name="T65" fmla="*/ 28 h 572"/>
              <a:gd name="T66" fmla="*/ 324 w 703"/>
              <a:gd name="T67" fmla="*/ 29 h 572"/>
              <a:gd name="T68" fmla="*/ 414 w 703"/>
              <a:gd name="T69" fmla="*/ 195 h 572"/>
              <a:gd name="T70" fmla="*/ 377 w 703"/>
              <a:gd name="T71" fmla="*/ 222 h 572"/>
              <a:gd name="T72" fmla="*/ 359 w 703"/>
              <a:gd name="T73" fmla="*/ 230 h 572"/>
              <a:gd name="T74" fmla="*/ 200 w 703"/>
              <a:gd name="T75" fmla="*/ 148 h 572"/>
              <a:gd name="T76" fmla="*/ 112 w 703"/>
              <a:gd name="T77" fmla="*/ 22 h 572"/>
              <a:gd name="T78" fmla="*/ 131 w 703"/>
              <a:gd name="T79" fmla="*/ 132 h 572"/>
              <a:gd name="T80" fmla="*/ 22 w 703"/>
              <a:gd name="T81" fmla="*/ 95 h 572"/>
              <a:gd name="T82" fmla="*/ 140 w 703"/>
              <a:gd name="T83" fmla="*/ 199 h 572"/>
              <a:gd name="T84" fmla="*/ 255 w 703"/>
              <a:gd name="T85" fmla="*/ 318 h 572"/>
              <a:gd name="T86" fmla="*/ 98 w 703"/>
              <a:gd name="T87" fmla="*/ 464 h 572"/>
              <a:gd name="T88" fmla="*/ 142 w 703"/>
              <a:gd name="T89" fmla="*/ 533 h 572"/>
              <a:gd name="T90" fmla="*/ 178 w 703"/>
              <a:gd name="T91" fmla="*/ 557 h 572"/>
              <a:gd name="T92" fmla="*/ 299 w 703"/>
              <a:gd name="T93" fmla="*/ 417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03" h="572">
                <a:moveTo>
                  <a:pt x="518" y="572"/>
                </a:moveTo>
                <a:cubicBezTo>
                  <a:pt x="505" y="572"/>
                  <a:pt x="494" y="568"/>
                  <a:pt x="486" y="559"/>
                </a:cubicBezTo>
                <a:cubicBezTo>
                  <a:pt x="333" y="406"/>
                  <a:pt x="333" y="406"/>
                  <a:pt x="333" y="406"/>
                </a:cubicBezTo>
                <a:cubicBezTo>
                  <a:pt x="324" y="414"/>
                  <a:pt x="316" y="421"/>
                  <a:pt x="308" y="428"/>
                </a:cubicBezTo>
                <a:cubicBezTo>
                  <a:pt x="296" y="438"/>
                  <a:pt x="285" y="448"/>
                  <a:pt x="272" y="461"/>
                </a:cubicBezTo>
                <a:cubicBezTo>
                  <a:pt x="252" y="481"/>
                  <a:pt x="216" y="530"/>
                  <a:pt x="198" y="553"/>
                </a:cubicBezTo>
                <a:cubicBezTo>
                  <a:pt x="190" y="565"/>
                  <a:pt x="188" y="567"/>
                  <a:pt x="187" y="568"/>
                </a:cubicBezTo>
                <a:cubicBezTo>
                  <a:pt x="184" y="571"/>
                  <a:pt x="177" y="572"/>
                  <a:pt x="172" y="572"/>
                </a:cubicBezTo>
                <a:cubicBezTo>
                  <a:pt x="167" y="572"/>
                  <a:pt x="160" y="571"/>
                  <a:pt x="157" y="568"/>
                </a:cubicBezTo>
                <a:cubicBezTo>
                  <a:pt x="155" y="566"/>
                  <a:pt x="145" y="556"/>
                  <a:pt x="132" y="543"/>
                </a:cubicBezTo>
                <a:cubicBezTo>
                  <a:pt x="132" y="543"/>
                  <a:pt x="83" y="494"/>
                  <a:pt x="79" y="490"/>
                </a:cubicBezTo>
                <a:cubicBezTo>
                  <a:pt x="74" y="484"/>
                  <a:pt x="73" y="466"/>
                  <a:pt x="79" y="460"/>
                </a:cubicBezTo>
                <a:cubicBezTo>
                  <a:pt x="80" y="459"/>
                  <a:pt x="82" y="457"/>
                  <a:pt x="90" y="452"/>
                </a:cubicBezTo>
                <a:cubicBezTo>
                  <a:pt x="108" y="441"/>
                  <a:pt x="144" y="418"/>
                  <a:pt x="163" y="398"/>
                </a:cubicBezTo>
                <a:cubicBezTo>
                  <a:pt x="176" y="385"/>
                  <a:pt x="191" y="368"/>
                  <a:pt x="207" y="350"/>
                </a:cubicBezTo>
                <a:cubicBezTo>
                  <a:pt x="218" y="338"/>
                  <a:pt x="229" y="325"/>
                  <a:pt x="240" y="314"/>
                </a:cubicBezTo>
                <a:cubicBezTo>
                  <a:pt x="140" y="214"/>
                  <a:pt x="140" y="214"/>
                  <a:pt x="140" y="214"/>
                </a:cubicBezTo>
                <a:cubicBezTo>
                  <a:pt x="131" y="216"/>
                  <a:pt x="121" y="218"/>
                  <a:pt x="112" y="218"/>
                </a:cubicBezTo>
                <a:cubicBezTo>
                  <a:pt x="84" y="218"/>
                  <a:pt x="57" y="207"/>
                  <a:pt x="37" y="187"/>
                </a:cubicBezTo>
                <a:cubicBezTo>
                  <a:pt x="9" y="159"/>
                  <a:pt x="0" y="118"/>
                  <a:pt x="12" y="80"/>
                </a:cubicBezTo>
                <a:cubicBezTo>
                  <a:pt x="13" y="77"/>
                  <a:pt x="15" y="76"/>
                  <a:pt x="17" y="75"/>
                </a:cubicBezTo>
                <a:cubicBezTo>
                  <a:pt x="19" y="74"/>
                  <a:pt x="22" y="75"/>
                  <a:pt x="24" y="77"/>
                </a:cubicBezTo>
                <a:cubicBezTo>
                  <a:pt x="75" y="128"/>
                  <a:pt x="75" y="128"/>
                  <a:pt x="75" y="128"/>
                </a:cubicBezTo>
                <a:cubicBezTo>
                  <a:pt x="76" y="129"/>
                  <a:pt x="78" y="129"/>
                  <a:pt x="82" y="129"/>
                </a:cubicBezTo>
                <a:cubicBezTo>
                  <a:pt x="96" y="129"/>
                  <a:pt x="117" y="125"/>
                  <a:pt x="121" y="122"/>
                </a:cubicBezTo>
                <a:cubicBezTo>
                  <a:pt x="125" y="115"/>
                  <a:pt x="129" y="83"/>
                  <a:pt x="127" y="76"/>
                </a:cubicBezTo>
                <a:cubicBezTo>
                  <a:pt x="76" y="24"/>
                  <a:pt x="76" y="24"/>
                  <a:pt x="76" y="24"/>
                </a:cubicBezTo>
                <a:cubicBezTo>
                  <a:pt x="74" y="23"/>
                  <a:pt x="74" y="20"/>
                  <a:pt x="74" y="18"/>
                </a:cubicBezTo>
                <a:cubicBezTo>
                  <a:pt x="75" y="15"/>
                  <a:pt x="77" y="14"/>
                  <a:pt x="79" y="13"/>
                </a:cubicBezTo>
                <a:cubicBezTo>
                  <a:pt x="89" y="9"/>
                  <a:pt x="101" y="8"/>
                  <a:pt x="112" y="8"/>
                </a:cubicBezTo>
                <a:cubicBezTo>
                  <a:pt x="140" y="8"/>
                  <a:pt x="166" y="18"/>
                  <a:pt x="186" y="38"/>
                </a:cubicBezTo>
                <a:cubicBezTo>
                  <a:pt x="213" y="65"/>
                  <a:pt x="223" y="104"/>
                  <a:pt x="213" y="141"/>
                </a:cubicBezTo>
                <a:cubicBezTo>
                  <a:pt x="317" y="245"/>
                  <a:pt x="317" y="245"/>
                  <a:pt x="317" y="245"/>
                </a:cubicBezTo>
                <a:cubicBezTo>
                  <a:pt x="330" y="235"/>
                  <a:pt x="342" y="226"/>
                  <a:pt x="351" y="219"/>
                </a:cubicBezTo>
                <a:cubicBezTo>
                  <a:pt x="356" y="215"/>
                  <a:pt x="360" y="212"/>
                  <a:pt x="362" y="211"/>
                </a:cubicBezTo>
                <a:cubicBezTo>
                  <a:pt x="368" y="206"/>
                  <a:pt x="375" y="205"/>
                  <a:pt x="381" y="208"/>
                </a:cubicBezTo>
                <a:cubicBezTo>
                  <a:pt x="387" y="203"/>
                  <a:pt x="387" y="203"/>
                  <a:pt x="387" y="203"/>
                </a:cubicBezTo>
                <a:cubicBezTo>
                  <a:pt x="404" y="185"/>
                  <a:pt x="404" y="185"/>
                  <a:pt x="404" y="185"/>
                </a:cubicBezTo>
                <a:cubicBezTo>
                  <a:pt x="424" y="165"/>
                  <a:pt x="450" y="125"/>
                  <a:pt x="400" y="75"/>
                </a:cubicBezTo>
                <a:cubicBezTo>
                  <a:pt x="369" y="45"/>
                  <a:pt x="332" y="43"/>
                  <a:pt x="324" y="43"/>
                </a:cubicBezTo>
                <a:cubicBezTo>
                  <a:pt x="321" y="43"/>
                  <a:pt x="319" y="43"/>
                  <a:pt x="318" y="43"/>
                </a:cubicBezTo>
                <a:cubicBezTo>
                  <a:pt x="310" y="45"/>
                  <a:pt x="302" y="40"/>
                  <a:pt x="300" y="32"/>
                </a:cubicBezTo>
                <a:cubicBezTo>
                  <a:pt x="299" y="25"/>
                  <a:pt x="301" y="19"/>
                  <a:pt x="307" y="16"/>
                </a:cubicBezTo>
                <a:cubicBezTo>
                  <a:pt x="325" y="6"/>
                  <a:pt x="354" y="0"/>
                  <a:pt x="383" y="0"/>
                </a:cubicBezTo>
                <a:cubicBezTo>
                  <a:pt x="429" y="0"/>
                  <a:pt x="497" y="14"/>
                  <a:pt x="563" y="80"/>
                </a:cubicBezTo>
                <a:cubicBezTo>
                  <a:pt x="593" y="110"/>
                  <a:pt x="606" y="127"/>
                  <a:pt x="608" y="140"/>
                </a:cubicBezTo>
                <a:cubicBezTo>
                  <a:pt x="609" y="146"/>
                  <a:pt x="608" y="152"/>
                  <a:pt x="608" y="157"/>
                </a:cubicBezTo>
                <a:cubicBezTo>
                  <a:pt x="607" y="164"/>
                  <a:pt x="607" y="169"/>
                  <a:pt x="609" y="172"/>
                </a:cubicBezTo>
                <a:cubicBezTo>
                  <a:pt x="617" y="179"/>
                  <a:pt x="627" y="181"/>
                  <a:pt x="642" y="179"/>
                </a:cubicBezTo>
                <a:cubicBezTo>
                  <a:pt x="649" y="178"/>
                  <a:pt x="657" y="181"/>
                  <a:pt x="662" y="186"/>
                </a:cubicBezTo>
                <a:cubicBezTo>
                  <a:pt x="695" y="219"/>
                  <a:pt x="695" y="219"/>
                  <a:pt x="695" y="219"/>
                </a:cubicBezTo>
                <a:cubicBezTo>
                  <a:pt x="703" y="227"/>
                  <a:pt x="703" y="240"/>
                  <a:pt x="695" y="249"/>
                </a:cubicBezTo>
                <a:cubicBezTo>
                  <a:pt x="626" y="318"/>
                  <a:pt x="626" y="318"/>
                  <a:pt x="626" y="318"/>
                </a:cubicBezTo>
                <a:cubicBezTo>
                  <a:pt x="622" y="322"/>
                  <a:pt x="616" y="324"/>
                  <a:pt x="611" y="324"/>
                </a:cubicBezTo>
                <a:cubicBezTo>
                  <a:pt x="605" y="324"/>
                  <a:pt x="600" y="322"/>
                  <a:pt x="596" y="318"/>
                </a:cubicBezTo>
                <a:cubicBezTo>
                  <a:pt x="563" y="285"/>
                  <a:pt x="563" y="285"/>
                  <a:pt x="563" y="285"/>
                </a:cubicBezTo>
                <a:cubicBezTo>
                  <a:pt x="558" y="280"/>
                  <a:pt x="556" y="273"/>
                  <a:pt x="557" y="265"/>
                </a:cubicBezTo>
                <a:cubicBezTo>
                  <a:pt x="561" y="247"/>
                  <a:pt x="558" y="235"/>
                  <a:pt x="550" y="227"/>
                </a:cubicBezTo>
                <a:cubicBezTo>
                  <a:pt x="537" y="214"/>
                  <a:pt x="528" y="210"/>
                  <a:pt x="512" y="212"/>
                </a:cubicBezTo>
                <a:cubicBezTo>
                  <a:pt x="498" y="214"/>
                  <a:pt x="471" y="234"/>
                  <a:pt x="439" y="265"/>
                </a:cubicBezTo>
                <a:cubicBezTo>
                  <a:pt x="442" y="272"/>
                  <a:pt x="442" y="279"/>
                  <a:pt x="436" y="285"/>
                </a:cubicBezTo>
                <a:cubicBezTo>
                  <a:pt x="435" y="287"/>
                  <a:pt x="432" y="291"/>
                  <a:pt x="428" y="296"/>
                </a:cubicBezTo>
                <a:cubicBezTo>
                  <a:pt x="421" y="305"/>
                  <a:pt x="412" y="317"/>
                  <a:pt x="402" y="330"/>
                </a:cubicBezTo>
                <a:cubicBezTo>
                  <a:pt x="559" y="487"/>
                  <a:pt x="559" y="487"/>
                  <a:pt x="559" y="487"/>
                </a:cubicBezTo>
                <a:cubicBezTo>
                  <a:pt x="567" y="496"/>
                  <a:pt x="572" y="508"/>
                  <a:pt x="571" y="521"/>
                </a:cubicBezTo>
                <a:cubicBezTo>
                  <a:pt x="570" y="534"/>
                  <a:pt x="565" y="546"/>
                  <a:pt x="555" y="556"/>
                </a:cubicBezTo>
                <a:cubicBezTo>
                  <a:pt x="545" y="566"/>
                  <a:pt x="531" y="572"/>
                  <a:pt x="518" y="572"/>
                </a:cubicBezTo>
                <a:close/>
                <a:moveTo>
                  <a:pt x="333" y="390"/>
                </a:moveTo>
                <a:cubicBezTo>
                  <a:pt x="335" y="390"/>
                  <a:pt x="337" y="390"/>
                  <a:pt x="338" y="392"/>
                </a:cubicBezTo>
                <a:cubicBezTo>
                  <a:pt x="496" y="550"/>
                  <a:pt x="496" y="550"/>
                  <a:pt x="496" y="550"/>
                </a:cubicBezTo>
                <a:cubicBezTo>
                  <a:pt x="502" y="555"/>
                  <a:pt x="509" y="558"/>
                  <a:pt x="518" y="558"/>
                </a:cubicBezTo>
                <a:cubicBezTo>
                  <a:pt x="527" y="558"/>
                  <a:pt x="538" y="554"/>
                  <a:pt x="545" y="546"/>
                </a:cubicBezTo>
                <a:cubicBezTo>
                  <a:pt x="552" y="539"/>
                  <a:pt x="557" y="530"/>
                  <a:pt x="557" y="520"/>
                </a:cubicBezTo>
                <a:cubicBezTo>
                  <a:pt x="558" y="511"/>
                  <a:pt x="555" y="503"/>
                  <a:pt x="549" y="497"/>
                </a:cubicBezTo>
                <a:cubicBezTo>
                  <a:pt x="387" y="336"/>
                  <a:pt x="387" y="336"/>
                  <a:pt x="387" y="336"/>
                </a:cubicBezTo>
                <a:cubicBezTo>
                  <a:pt x="385" y="333"/>
                  <a:pt x="385" y="329"/>
                  <a:pt x="387" y="326"/>
                </a:cubicBezTo>
                <a:cubicBezTo>
                  <a:pt x="399" y="312"/>
                  <a:pt x="409" y="297"/>
                  <a:pt x="416" y="288"/>
                </a:cubicBezTo>
                <a:cubicBezTo>
                  <a:pt x="421" y="282"/>
                  <a:pt x="424" y="278"/>
                  <a:pt x="425" y="276"/>
                </a:cubicBezTo>
                <a:cubicBezTo>
                  <a:pt x="428" y="274"/>
                  <a:pt x="428" y="272"/>
                  <a:pt x="425" y="270"/>
                </a:cubicBezTo>
                <a:cubicBezTo>
                  <a:pt x="425" y="270"/>
                  <a:pt x="425" y="269"/>
                  <a:pt x="425" y="269"/>
                </a:cubicBezTo>
                <a:cubicBezTo>
                  <a:pt x="423" y="268"/>
                  <a:pt x="423" y="267"/>
                  <a:pt x="423" y="265"/>
                </a:cubicBezTo>
                <a:cubicBezTo>
                  <a:pt x="422" y="263"/>
                  <a:pt x="423" y="261"/>
                  <a:pt x="425" y="259"/>
                </a:cubicBezTo>
                <a:cubicBezTo>
                  <a:pt x="451" y="233"/>
                  <a:pt x="487" y="201"/>
                  <a:pt x="511" y="198"/>
                </a:cubicBezTo>
                <a:cubicBezTo>
                  <a:pt x="534" y="196"/>
                  <a:pt x="547" y="204"/>
                  <a:pt x="560" y="217"/>
                </a:cubicBezTo>
                <a:cubicBezTo>
                  <a:pt x="571" y="228"/>
                  <a:pt x="575" y="245"/>
                  <a:pt x="571" y="267"/>
                </a:cubicBezTo>
                <a:cubicBezTo>
                  <a:pt x="571" y="269"/>
                  <a:pt x="570" y="273"/>
                  <a:pt x="573" y="275"/>
                </a:cubicBezTo>
                <a:cubicBezTo>
                  <a:pt x="606" y="308"/>
                  <a:pt x="606" y="308"/>
                  <a:pt x="606" y="308"/>
                </a:cubicBezTo>
                <a:cubicBezTo>
                  <a:pt x="608" y="310"/>
                  <a:pt x="613" y="310"/>
                  <a:pt x="616" y="308"/>
                </a:cubicBezTo>
                <a:cubicBezTo>
                  <a:pt x="685" y="239"/>
                  <a:pt x="685" y="239"/>
                  <a:pt x="685" y="239"/>
                </a:cubicBezTo>
                <a:cubicBezTo>
                  <a:pt x="687" y="236"/>
                  <a:pt x="687" y="232"/>
                  <a:pt x="685" y="229"/>
                </a:cubicBezTo>
                <a:cubicBezTo>
                  <a:pt x="652" y="196"/>
                  <a:pt x="652" y="196"/>
                  <a:pt x="652" y="196"/>
                </a:cubicBezTo>
                <a:cubicBezTo>
                  <a:pt x="650" y="194"/>
                  <a:pt x="647" y="193"/>
                  <a:pt x="645" y="193"/>
                </a:cubicBezTo>
                <a:cubicBezTo>
                  <a:pt x="645" y="193"/>
                  <a:pt x="644" y="193"/>
                  <a:pt x="644" y="193"/>
                </a:cubicBezTo>
                <a:cubicBezTo>
                  <a:pt x="624" y="196"/>
                  <a:pt x="610" y="192"/>
                  <a:pt x="600" y="182"/>
                </a:cubicBezTo>
                <a:cubicBezTo>
                  <a:pt x="592" y="174"/>
                  <a:pt x="593" y="164"/>
                  <a:pt x="594" y="155"/>
                </a:cubicBezTo>
                <a:cubicBezTo>
                  <a:pt x="594" y="151"/>
                  <a:pt x="595" y="146"/>
                  <a:pt x="594" y="142"/>
                </a:cubicBezTo>
                <a:cubicBezTo>
                  <a:pt x="592" y="129"/>
                  <a:pt x="563" y="100"/>
                  <a:pt x="553" y="90"/>
                </a:cubicBezTo>
                <a:cubicBezTo>
                  <a:pt x="490" y="27"/>
                  <a:pt x="426" y="14"/>
                  <a:pt x="383" y="14"/>
                </a:cubicBezTo>
                <a:cubicBezTo>
                  <a:pt x="351" y="14"/>
                  <a:pt x="326" y="21"/>
                  <a:pt x="314" y="28"/>
                </a:cubicBezTo>
                <a:cubicBezTo>
                  <a:pt x="314" y="28"/>
                  <a:pt x="314" y="29"/>
                  <a:pt x="314" y="29"/>
                </a:cubicBezTo>
                <a:cubicBezTo>
                  <a:pt x="315" y="30"/>
                  <a:pt x="315" y="30"/>
                  <a:pt x="315" y="30"/>
                </a:cubicBezTo>
                <a:cubicBezTo>
                  <a:pt x="318" y="29"/>
                  <a:pt x="321" y="29"/>
                  <a:pt x="324" y="29"/>
                </a:cubicBezTo>
                <a:cubicBezTo>
                  <a:pt x="333" y="29"/>
                  <a:pt x="375" y="31"/>
                  <a:pt x="410" y="65"/>
                </a:cubicBezTo>
                <a:cubicBezTo>
                  <a:pt x="435" y="90"/>
                  <a:pt x="446" y="116"/>
                  <a:pt x="442" y="143"/>
                </a:cubicBezTo>
                <a:cubicBezTo>
                  <a:pt x="439" y="168"/>
                  <a:pt x="423" y="186"/>
                  <a:pt x="414" y="195"/>
                </a:cubicBezTo>
                <a:cubicBezTo>
                  <a:pt x="396" y="213"/>
                  <a:pt x="396" y="213"/>
                  <a:pt x="396" y="213"/>
                </a:cubicBezTo>
                <a:cubicBezTo>
                  <a:pt x="387" y="222"/>
                  <a:pt x="387" y="222"/>
                  <a:pt x="387" y="222"/>
                </a:cubicBezTo>
                <a:cubicBezTo>
                  <a:pt x="384" y="224"/>
                  <a:pt x="380" y="224"/>
                  <a:pt x="377" y="222"/>
                </a:cubicBezTo>
                <a:cubicBezTo>
                  <a:pt x="376" y="221"/>
                  <a:pt x="375" y="220"/>
                  <a:pt x="374" y="220"/>
                </a:cubicBezTo>
                <a:cubicBezTo>
                  <a:pt x="373" y="220"/>
                  <a:pt x="372" y="220"/>
                  <a:pt x="371" y="222"/>
                </a:cubicBezTo>
                <a:cubicBezTo>
                  <a:pt x="369" y="223"/>
                  <a:pt x="365" y="226"/>
                  <a:pt x="359" y="230"/>
                </a:cubicBezTo>
                <a:cubicBezTo>
                  <a:pt x="350" y="237"/>
                  <a:pt x="336" y="248"/>
                  <a:pt x="321" y="260"/>
                </a:cubicBezTo>
                <a:cubicBezTo>
                  <a:pt x="318" y="262"/>
                  <a:pt x="314" y="262"/>
                  <a:pt x="311" y="260"/>
                </a:cubicBezTo>
                <a:cubicBezTo>
                  <a:pt x="200" y="148"/>
                  <a:pt x="200" y="148"/>
                  <a:pt x="200" y="148"/>
                </a:cubicBezTo>
                <a:cubicBezTo>
                  <a:pt x="198" y="146"/>
                  <a:pt x="197" y="144"/>
                  <a:pt x="198" y="141"/>
                </a:cubicBezTo>
                <a:cubicBezTo>
                  <a:pt x="209" y="108"/>
                  <a:pt x="201" y="73"/>
                  <a:pt x="176" y="48"/>
                </a:cubicBezTo>
                <a:cubicBezTo>
                  <a:pt x="159" y="31"/>
                  <a:pt x="136" y="22"/>
                  <a:pt x="112" y="22"/>
                </a:cubicBezTo>
                <a:cubicBezTo>
                  <a:pt x="106" y="22"/>
                  <a:pt x="100" y="22"/>
                  <a:pt x="95" y="23"/>
                </a:cubicBezTo>
                <a:cubicBezTo>
                  <a:pt x="138" y="66"/>
                  <a:pt x="138" y="66"/>
                  <a:pt x="138" y="66"/>
                </a:cubicBezTo>
                <a:cubicBezTo>
                  <a:pt x="147" y="75"/>
                  <a:pt x="138" y="125"/>
                  <a:pt x="131" y="132"/>
                </a:cubicBezTo>
                <a:cubicBezTo>
                  <a:pt x="124" y="139"/>
                  <a:pt x="95" y="143"/>
                  <a:pt x="82" y="143"/>
                </a:cubicBezTo>
                <a:cubicBezTo>
                  <a:pt x="73" y="143"/>
                  <a:pt x="69" y="142"/>
                  <a:pt x="66" y="139"/>
                </a:cubicBezTo>
                <a:cubicBezTo>
                  <a:pt x="22" y="95"/>
                  <a:pt x="22" y="95"/>
                  <a:pt x="22" y="95"/>
                </a:cubicBezTo>
                <a:cubicBezTo>
                  <a:pt x="17" y="125"/>
                  <a:pt x="26" y="155"/>
                  <a:pt x="47" y="177"/>
                </a:cubicBezTo>
                <a:cubicBezTo>
                  <a:pt x="65" y="194"/>
                  <a:pt x="87" y="204"/>
                  <a:pt x="112" y="204"/>
                </a:cubicBezTo>
                <a:cubicBezTo>
                  <a:pt x="121" y="204"/>
                  <a:pt x="131" y="202"/>
                  <a:pt x="140" y="199"/>
                </a:cubicBezTo>
                <a:cubicBezTo>
                  <a:pt x="143" y="198"/>
                  <a:pt x="145" y="199"/>
                  <a:pt x="147" y="201"/>
                </a:cubicBezTo>
                <a:cubicBezTo>
                  <a:pt x="255" y="308"/>
                  <a:pt x="255" y="308"/>
                  <a:pt x="255" y="308"/>
                </a:cubicBezTo>
                <a:cubicBezTo>
                  <a:pt x="258" y="311"/>
                  <a:pt x="258" y="315"/>
                  <a:pt x="255" y="318"/>
                </a:cubicBezTo>
                <a:cubicBezTo>
                  <a:pt x="243" y="331"/>
                  <a:pt x="230" y="346"/>
                  <a:pt x="217" y="360"/>
                </a:cubicBezTo>
                <a:cubicBezTo>
                  <a:pt x="201" y="378"/>
                  <a:pt x="186" y="395"/>
                  <a:pt x="173" y="408"/>
                </a:cubicBezTo>
                <a:cubicBezTo>
                  <a:pt x="152" y="428"/>
                  <a:pt x="116" y="452"/>
                  <a:pt x="98" y="464"/>
                </a:cubicBezTo>
                <a:cubicBezTo>
                  <a:pt x="95" y="466"/>
                  <a:pt x="91" y="468"/>
                  <a:pt x="89" y="469"/>
                </a:cubicBezTo>
                <a:cubicBezTo>
                  <a:pt x="89" y="472"/>
                  <a:pt x="89" y="479"/>
                  <a:pt x="90" y="481"/>
                </a:cubicBezTo>
                <a:cubicBezTo>
                  <a:pt x="95" y="486"/>
                  <a:pt x="142" y="533"/>
                  <a:pt x="142" y="533"/>
                </a:cubicBezTo>
                <a:cubicBezTo>
                  <a:pt x="154" y="545"/>
                  <a:pt x="164" y="555"/>
                  <a:pt x="166" y="557"/>
                </a:cubicBezTo>
                <a:cubicBezTo>
                  <a:pt x="167" y="558"/>
                  <a:pt x="169" y="558"/>
                  <a:pt x="172" y="558"/>
                </a:cubicBezTo>
                <a:cubicBezTo>
                  <a:pt x="175" y="558"/>
                  <a:pt x="177" y="558"/>
                  <a:pt x="178" y="557"/>
                </a:cubicBezTo>
                <a:cubicBezTo>
                  <a:pt x="179" y="556"/>
                  <a:pt x="183" y="551"/>
                  <a:pt x="187" y="545"/>
                </a:cubicBezTo>
                <a:cubicBezTo>
                  <a:pt x="204" y="521"/>
                  <a:pt x="241" y="472"/>
                  <a:pt x="262" y="451"/>
                </a:cubicBezTo>
                <a:cubicBezTo>
                  <a:pt x="275" y="438"/>
                  <a:pt x="287" y="428"/>
                  <a:pt x="299" y="417"/>
                </a:cubicBezTo>
                <a:cubicBezTo>
                  <a:pt x="309" y="409"/>
                  <a:pt x="318" y="401"/>
                  <a:pt x="329" y="392"/>
                </a:cubicBezTo>
                <a:cubicBezTo>
                  <a:pt x="330" y="390"/>
                  <a:pt x="332" y="390"/>
                  <a:pt x="333" y="39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036AA44-6898-4820-BCE8-3018AE9DCD26}"/>
              </a:ext>
            </a:extLst>
          </p:cNvPr>
          <p:cNvGrpSpPr/>
          <p:nvPr/>
        </p:nvGrpSpPr>
        <p:grpSpPr>
          <a:xfrm>
            <a:off x="2047991" y="2828402"/>
            <a:ext cx="1531767" cy="1533600"/>
            <a:chOff x="1400198" y="1333762"/>
            <a:chExt cx="807030" cy="717376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3E38698E-FD10-4390-9E55-0B63B0EED499}"/>
                </a:ext>
              </a:extLst>
            </p:cNvPr>
            <p:cNvSpPr/>
            <p:nvPr/>
          </p:nvSpPr>
          <p:spPr>
            <a:xfrm>
              <a:off x="1400198" y="1333762"/>
              <a:ext cx="807030" cy="71737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noProof="0"/>
            </a:p>
          </p:txBody>
        </p:sp>
        <p:pic>
          <p:nvPicPr>
            <p:cNvPr id="45" name="Graphic 44" descr="Watering pot with solid fill">
              <a:extLst>
                <a:ext uri="{FF2B5EF4-FFF2-40B4-BE49-F238E27FC236}">
                  <a16:creationId xmlns:a16="http://schemas.microsoft.com/office/drawing/2014/main" id="{8EE4FE22-8ABB-4491-9DAE-1D43F74F9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16567" y="1377726"/>
              <a:ext cx="617712" cy="605533"/>
            </a:xfrm>
            <a:prstGeom prst="rect">
              <a:avLst/>
            </a:prstGeom>
          </p:spPr>
        </p:pic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A830CFD9-635D-48E4-AE01-59330CC0496A}"/>
              </a:ext>
            </a:extLst>
          </p:cNvPr>
          <p:cNvSpPr/>
          <p:nvPr/>
        </p:nvSpPr>
        <p:spPr>
          <a:xfrm>
            <a:off x="2047991" y="5366261"/>
            <a:ext cx="14867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/>
              <a:t>Nationale vækstfond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C33E226-8834-460B-845A-6F239AC201E9}"/>
              </a:ext>
            </a:extLst>
          </p:cNvPr>
          <p:cNvSpPr/>
          <p:nvPr/>
        </p:nvSpPr>
        <p:spPr>
          <a:xfrm>
            <a:off x="1624650" y="5366261"/>
            <a:ext cx="33995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700"/>
              <a:t>1</a:t>
            </a:r>
          </a:p>
        </p:txBody>
      </p:sp>
      <p:sp>
        <p:nvSpPr>
          <p:cNvPr id="51" name="Title 4">
            <a:extLst>
              <a:ext uri="{FF2B5EF4-FFF2-40B4-BE49-F238E27FC236}">
                <a16:creationId xmlns:a16="http://schemas.microsoft.com/office/drawing/2014/main" id="{BEC5D264-EB40-4DAA-9655-E2078E7138D4}"/>
              </a:ext>
            </a:extLst>
          </p:cNvPr>
          <p:cNvSpPr txBox="1">
            <a:spLocks/>
          </p:cNvSpPr>
          <p:nvPr/>
        </p:nvSpPr>
        <p:spPr>
          <a:xfrm>
            <a:off x="358775" y="39103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… den anden løsningsmodel er fælles indgange…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5FF56E0-16BE-45FE-8028-36BE80FB74B4}"/>
              </a:ext>
            </a:extLst>
          </p:cNvPr>
          <p:cNvSpPr/>
          <p:nvPr/>
        </p:nvSpPr>
        <p:spPr>
          <a:xfrm>
            <a:off x="5238022" y="5366261"/>
            <a:ext cx="14867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/>
              <a:t>En fælles indga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200BF50-2442-419F-9C4E-7CE946B72874}"/>
              </a:ext>
            </a:extLst>
          </p:cNvPr>
          <p:cNvSpPr/>
          <p:nvPr/>
        </p:nvSpPr>
        <p:spPr>
          <a:xfrm>
            <a:off x="4898070" y="5366260"/>
            <a:ext cx="33995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700"/>
              <a:t>2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056EA64-04FB-4CA5-860A-3A607FB05BDE}"/>
              </a:ext>
            </a:extLst>
          </p:cNvPr>
          <p:cNvGrpSpPr/>
          <p:nvPr/>
        </p:nvGrpSpPr>
        <p:grpSpPr>
          <a:xfrm>
            <a:off x="4964990" y="2829974"/>
            <a:ext cx="1533600" cy="1533600"/>
            <a:chOff x="4432402" y="1298813"/>
            <a:chExt cx="864606" cy="792452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33626AE-6F3B-4C81-BA85-73886B4D61A6}"/>
                </a:ext>
              </a:extLst>
            </p:cNvPr>
            <p:cNvSpPr/>
            <p:nvPr/>
          </p:nvSpPr>
          <p:spPr>
            <a:xfrm>
              <a:off x="4432402" y="1298813"/>
              <a:ext cx="864606" cy="792452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noProof="0"/>
            </a:p>
          </p:txBody>
        </p:sp>
        <p:pic>
          <p:nvPicPr>
            <p:cNvPr id="24" name="Graphic 23" descr="Door Open with solid fill">
              <a:extLst>
                <a:ext uri="{FF2B5EF4-FFF2-40B4-BE49-F238E27FC236}">
                  <a16:creationId xmlns:a16="http://schemas.microsoft.com/office/drawing/2014/main" id="{9A19CFF9-24F3-4AA4-9A09-3D0A52C9DB0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599562" y="1429238"/>
              <a:ext cx="502509" cy="502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14645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9123120-DD0A-4495-8D0A-C6430DD518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9123120-DD0A-4495-8D0A-C6430DD518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/>
          <p:cNvSpPr/>
          <p:nvPr/>
        </p:nvSpPr>
        <p:spPr>
          <a:xfrm>
            <a:off x="4281479" y="2268509"/>
            <a:ext cx="2880000" cy="288000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Arc 6"/>
          <p:cNvSpPr/>
          <p:nvPr/>
        </p:nvSpPr>
        <p:spPr>
          <a:xfrm rot="10800000">
            <a:off x="4285816" y="2160191"/>
            <a:ext cx="2876567" cy="2988317"/>
          </a:xfrm>
          <a:prstGeom prst="arc">
            <a:avLst>
              <a:gd name="adj1" fmla="val 10766207"/>
              <a:gd name="adj2" fmla="val 42003"/>
            </a:avLst>
          </a:prstGeom>
          <a:ln w="69850" cap="flat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/>
          <p:cNvSpPr/>
          <p:nvPr/>
        </p:nvSpPr>
        <p:spPr>
          <a:xfrm>
            <a:off x="1403775" y="2225127"/>
            <a:ext cx="2880000" cy="288000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c 4"/>
          <p:cNvSpPr/>
          <p:nvPr/>
        </p:nvSpPr>
        <p:spPr>
          <a:xfrm>
            <a:off x="1406949" y="2225128"/>
            <a:ext cx="2880000" cy="2880000"/>
          </a:xfrm>
          <a:prstGeom prst="arc">
            <a:avLst>
              <a:gd name="adj1" fmla="val 10769546"/>
              <a:gd name="adj2" fmla="val 21549802"/>
            </a:avLst>
          </a:prstGeom>
          <a:ln w="69850" cap="flat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7160771" y="2310417"/>
            <a:ext cx="2880000" cy="2880000"/>
          </a:xfrm>
          <a:prstGeom prst="ellipse">
            <a:avLst/>
          </a:prstGeom>
          <a:noFill/>
          <a:ln w="69850">
            <a:solidFill>
              <a:srgbClr val="B2B2B2">
                <a:alpha val="30000"/>
              </a:srgb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149"/>
          <p:cNvSpPr>
            <a:spLocks noEditPoints="1"/>
          </p:cNvSpPr>
          <p:nvPr/>
        </p:nvSpPr>
        <p:spPr bwMode="auto">
          <a:xfrm>
            <a:off x="5278334" y="3161231"/>
            <a:ext cx="400546" cy="503896"/>
          </a:xfrm>
          <a:custGeom>
            <a:avLst/>
            <a:gdLst>
              <a:gd name="T0" fmla="*/ 463 w 467"/>
              <a:gd name="T1" fmla="*/ 291 h 569"/>
              <a:gd name="T2" fmla="*/ 452 w 467"/>
              <a:gd name="T3" fmla="*/ 291 h 569"/>
              <a:gd name="T4" fmla="*/ 359 w 467"/>
              <a:gd name="T5" fmla="*/ 291 h 569"/>
              <a:gd name="T6" fmla="*/ 348 w 467"/>
              <a:gd name="T7" fmla="*/ 291 h 569"/>
              <a:gd name="T8" fmla="*/ 394 w 467"/>
              <a:gd name="T9" fmla="*/ 233 h 569"/>
              <a:gd name="T10" fmla="*/ 348 w 467"/>
              <a:gd name="T11" fmla="*/ 176 h 569"/>
              <a:gd name="T12" fmla="*/ 406 w 467"/>
              <a:gd name="T13" fmla="*/ 222 h 569"/>
              <a:gd name="T14" fmla="*/ 463 w 467"/>
              <a:gd name="T15" fmla="*/ 176 h 569"/>
              <a:gd name="T16" fmla="*/ 417 w 467"/>
              <a:gd name="T17" fmla="*/ 233 h 569"/>
              <a:gd name="T18" fmla="*/ 340 w 467"/>
              <a:gd name="T19" fmla="*/ 3 h 569"/>
              <a:gd name="T20" fmla="*/ 282 w 467"/>
              <a:gd name="T21" fmla="*/ 50 h 569"/>
              <a:gd name="T22" fmla="*/ 224 w 467"/>
              <a:gd name="T23" fmla="*/ 3 h 569"/>
              <a:gd name="T24" fmla="*/ 271 w 467"/>
              <a:gd name="T25" fmla="*/ 61 h 569"/>
              <a:gd name="T26" fmla="*/ 224 w 467"/>
              <a:gd name="T27" fmla="*/ 119 h 569"/>
              <a:gd name="T28" fmla="*/ 236 w 467"/>
              <a:gd name="T29" fmla="*/ 119 h 569"/>
              <a:gd name="T30" fmla="*/ 328 w 467"/>
              <a:gd name="T31" fmla="*/ 119 h 569"/>
              <a:gd name="T32" fmla="*/ 340 w 467"/>
              <a:gd name="T33" fmla="*/ 119 h 569"/>
              <a:gd name="T34" fmla="*/ 293 w 467"/>
              <a:gd name="T35" fmla="*/ 61 h 569"/>
              <a:gd name="T36" fmla="*/ 340 w 467"/>
              <a:gd name="T37" fmla="*/ 3 h 569"/>
              <a:gd name="T38" fmla="*/ 108 w 467"/>
              <a:gd name="T39" fmla="*/ 348 h 569"/>
              <a:gd name="T40" fmla="*/ 15 w 467"/>
              <a:gd name="T41" fmla="*/ 348 h 569"/>
              <a:gd name="T42" fmla="*/ 3 w 467"/>
              <a:gd name="T43" fmla="*/ 359 h 569"/>
              <a:gd name="T44" fmla="*/ 3 w 467"/>
              <a:gd name="T45" fmla="*/ 452 h 569"/>
              <a:gd name="T46" fmla="*/ 9 w 467"/>
              <a:gd name="T47" fmla="*/ 466 h 569"/>
              <a:gd name="T48" fmla="*/ 61 w 467"/>
              <a:gd name="T49" fmla="*/ 417 h 569"/>
              <a:gd name="T50" fmla="*/ 113 w 467"/>
              <a:gd name="T51" fmla="*/ 466 h 569"/>
              <a:gd name="T52" fmla="*/ 119 w 467"/>
              <a:gd name="T53" fmla="*/ 452 h 569"/>
              <a:gd name="T54" fmla="*/ 119 w 467"/>
              <a:gd name="T55" fmla="*/ 359 h 569"/>
              <a:gd name="T56" fmla="*/ 332 w 467"/>
              <a:gd name="T57" fmla="*/ 509 h 569"/>
              <a:gd name="T58" fmla="*/ 212 w 467"/>
              <a:gd name="T59" fmla="*/ 509 h 569"/>
              <a:gd name="T60" fmla="*/ 264 w 467"/>
              <a:gd name="T61" fmla="*/ 374 h 569"/>
              <a:gd name="T62" fmla="*/ 42 w 467"/>
              <a:gd name="T63" fmla="*/ 254 h 569"/>
              <a:gd name="T64" fmla="*/ 26 w 467"/>
              <a:gd name="T65" fmla="*/ 254 h 569"/>
              <a:gd name="T66" fmla="*/ 26 w 467"/>
              <a:gd name="T67" fmla="*/ 131 h 569"/>
              <a:gd name="T68" fmla="*/ 27 w 467"/>
              <a:gd name="T69" fmla="*/ 130 h 569"/>
              <a:gd name="T70" fmla="*/ 28 w 467"/>
              <a:gd name="T71" fmla="*/ 128 h 569"/>
              <a:gd name="T72" fmla="*/ 30 w 467"/>
              <a:gd name="T73" fmla="*/ 126 h 569"/>
              <a:gd name="T74" fmla="*/ 32 w 467"/>
              <a:gd name="T75" fmla="*/ 125 h 569"/>
              <a:gd name="T76" fmla="*/ 34 w 467"/>
              <a:gd name="T77" fmla="*/ 125 h 569"/>
              <a:gd name="T78" fmla="*/ 34 w 467"/>
              <a:gd name="T79" fmla="*/ 125 h 569"/>
              <a:gd name="T80" fmla="*/ 34 w 467"/>
              <a:gd name="T81" fmla="*/ 125 h 569"/>
              <a:gd name="T82" fmla="*/ 163 w 467"/>
              <a:gd name="T83" fmla="*/ 133 h 569"/>
              <a:gd name="T84" fmla="*/ 53 w 467"/>
              <a:gd name="T85" fmla="*/ 141 h 569"/>
              <a:gd name="T86" fmla="*/ 280 w 467"/>
              <a:gd name="T87" fmla="*/ 371 h 569"/>
              <a:gd name="T88" fmla="*/ 332 w 467"/>
              <a:gd name="T89" fmla="*/ 509 h 569"/>
              <a:gd name="T90" fmla="*/ 272 w 467"/>
              <a:gd name="T91" fmla="*/ 466 h 569"/>
              <a:gd name="T92" fmla="*/ 272 w 467"/>
              <a:gd name="T93" fmla="*/ 553 h 5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7" h="569">
                <a:moveTo>
                  <a:pt x="463" y="280"/>
                </a:moveTo>
                <a:cubicBezTo>
                  <a:pt x="467" y="283"/>
                  <a:pt x="467" y="288"/>
                  <a:pt x="463" y="291"/>
                </a:cubicBezTo>
                <a:cubicBezTo>
                  <a:pt x="462" y="293"/>
                  <a:pt x="460" y="294"/>
                  <a:pt x="458" y="294"/>
                </a:cubicBezTo>
                <a:cubicBezTo>
                  <a:pt x="456" y="294"/>
                  <a:pt x="454" y="293"/>
                  <a:pt x="452" y="291"/>
                </a:cubicBezTo>
                <a:cubicBezTo>
                  <a:pt x="406" y="245"/>
                  <a:pt x="406" y="245"/>
                  <a:pt x="406" y="245"/>
                </a:cubicBezTo>
                <a:cubicBezTo>
                  <a:pt x="359" y="291"/>
                  <a:pt x="359" y="291"/>
                  <a:pt x="359" y="291"/>
                </a:cubicBezTo>
                <a:cubicBezTo>
                  <a:pt x="358" y="293"/>
                  <a:pt x="356" y="294"/>
                  <a:pt x="354" y="294"/>
                </a:cubicBezTo>
                <a:cubicBezTo>
                  <a:pt x="352" y="294"/>
                  <a:pt x="349" y="293"/>
                  <a:pt x="348" y="291"/>
                </a:cubicBezTo>
                <a:cubicBezTo>
                  <a:pt x="345" y="288"/>
                  <a:pt x="345" y="283"/>
                  <a:pt x="348" y="280"/>
                </a:cubicBezTo>
                <a:cubicBezTo>
                  <a:pt x="394" y="233"/>
                  <a:pt x="394" y="233"/>
                  <a:pt x="394" y="233"/>
                </a:cubicBezTo>
                <a:cubicBezTo>
                  <a:pt x="348" y="187"/>
                  <a:pt x="348" y="187"/>
                  <a:pt x="348" y="187"/>
                </a:cubicBezTo>
                <a:cubicBezTo>
                  <a:pt x="345" y="184"/>
                  <a:pt x="345" y="179"/>
                  <a:pt x="348" y="176"/>
                </a:cubicBezTo>
                <a:cubicBezTo>
                  <a:pt x="351" y="173"/>
                  <a:pt x="356" y="173"/>
                  <a:pt x="359" y="176"/>
                </a:cubicBezTo>
                <a:cubicBezTo>
                  <a:pt x="406" y="222"/>
                  <a:pt x="406" y="222"/>
                  <a:pt x="406" y="222"/>
                </a:cubicBezTo>
                <a:cubicBezTo>
                  <a:pt x="452" y="176"/>
                  <a:pt x="452" y="176"/>
                  <a:pt x="452" y="176"/>
                </a:cubicBezTo>
                <a:cubicBezTo>
                  <a:pt x="455" y="173"/>
                  <a:pt x="460" y="173"/>
                  <a:pt x="463" y="176"/>
                </a:cubicBezTo>
                <a:cubicBezTo>
                  <a:pt x="467" y="179"/>
                  <a:pt x="467" y="184"/>
                  <a:pt x="463" y="187"/>
                </a:cubicBezTo>
                <a:cubicBezTo>
                  <a:pt x="417" y="233"/>
                  <a:pt x="417" y="233"/>
                  <a:pt x="417" y="233"/>
                </a:cubicBezTo>
                <a:lnTo>
                  <a:pt x="463" y="280"/>
                </a:lnTo>
                <a:close/>
                <a:moveTo>
                  <a:pt x="340" y="3"/>
                </a:moveTo>
                <a:cubicBezTo>
                  <a:pt x="337" y="0"/>
                  <a:pt x="332" y="0"/>
                  <a:pt x="328" y="3"/>
                </a:cubicBezTo>
                <a:cubicBezTo>
                  <a:pt x="282" y="50"/>
                  <a:pt x="282" y="50"/>
                  <a:pt x="282" y="50"/>
                </a:cubicBezTo>
                <a:cubicBezTo>
                  <a:pt x="236" y="3"/>
                  <a:pt x="236" y="3"/>
                  <a:pt x="236" y="3"/>
                </a:cubicBezTo>
                <a:cubicBezTo>
                  <a:pt x="232" y="0"/>
                  <a:pt x="227" y="0"/>
                  <a:pt x="224" y="3"/>
                </a:cubicBezTo>
                <a:cubicBezTo>
                  <a:pt x="221" y="6"/>
                  <a:pt x="221" y="12"/>
                  <a:pt x="224" y="15"/>
                </a:cubicBezTo>
                <a:cubicBezTo>
                  <a:pt x="271" y="61"/>
                  <a:pt x="271" y="61"/>
                  <a:pt x="271" y="61"/>
                </a:cubicBezTo>
                <a:cubicBezTo>
                  <a:pt x="224" y="108"/>
                  <a:pt x="224" y="108"/>
                  <a:pt x="224" y="108"/>
                </a:cubicBezTo>
                <a:cubicBezTo>
                  <a:pt x="221" y="111"/>
                  <a:pt x="221" y="116"/>
                  <a:pt x="224" y="119"/>
                </a:cubicBezTo>
                <a:cubicBezTo>
                  <a:pt x="226" y="120"/>
                  <a:pt x="228" y="121"/>
                  <a:pt x="230" y="121"/>
                </a:cubicBezTo>
                <a:cubicBezTo>
                  <a:pt x="232" y="121"/>
                  <a:pt x="234" y="120"/>
                  <a:pt x="236" y="119"/>
                </a:cubicBezTo>
                <a:cubicBezTo>
                  <a:pt x="282" y="72"/>
                  <a:pt x="282" y="72"/>
                  <a:pt x="282" y="72"/>
                </a:cubicBezTo>
                <a:cubicBezTo>
                  <a:pt x="328" y="119"/>
                  <a:pt x="328" y="119"/>
                  <a:pt x="328" y="119"/>
                </a:cubicBezTo>
                <a:cubicBezTo>
                  <a:pt x="330" y="120"/>
                  <a:pt x="332" y="121"/>
                  <a:pt x="334" y="121"/>
                </a:cubicBezTo>
                <a:cubicBezTo>
                  <a:pt x="336" y="121"/>
                  <a:pt x="338" y="120"/>
                  <a:pt x="340" y="119"/>
                </a:cubicBezTo>
                <a:cubicBezTo>
                  <a:pt x="343" y="116"/>
                  <a:pt x="343" y="111"/>
                  <a:pt x="340" y="108"/>
                </a:cubicBezTo>
                <a:cubicBezTo>
                  <a:pt x="293" y="61"/>
                  <a:pt x="293" y="61"/>
                  <a:pt x="293" y="61"/>
                </a:cubicBezTo>
                <a:cubicBezTo>
                  <a:pt x="340" y="15"/>
                  <a:pt x="340" y="15"/>
                  <a:pt x="340" y="15"/>
                </a:cubicBezTo>
                <a:cubicBezTo>
                  <a:pt x="343" y="12"/>
                  <a:pt x="343" y="6"/>
                  <a:pt x="340" y="3"/>
                </a:cubicBezTo>
                <a:close/>
                <a:moveTo>
                  <a:pt x="119" y="348"/>
                </a:moveTo>
                <a:cubicBezTo>
                  <a:pt x="116" y="345"/>
                  <a:pt x="111" y="345"/>
                  <a:pt x="108" y="348"/>
                </a:cubicBezTo>
                <a:cubicBezTo>
                  <a:pt x="61" y="394"/>
                  <a:pt x="61" y="394"/>
                  <a:pt x="61" y="394"/>
                </a:cubicBezTo>
                <a:cubicBezTo>
                  <a:pt x="15" y="348"/>
                  <a:pt x="15" y="348"/>
                  <a:pt x="15" y="348"/>
                </a:cubicBezTo>
                <a:cubicBezTo>
                  <a:pt x="11" y="345"/>
                  <a:pt x="6" y="345"/>
                  <a:pt x="3" y="348"/>
                </a:cubicBezTo>
                <a:cubicBezTo>
                  <a:pt x="0" y="351"/>
                  <a:pt x="0" y="356"/>
                  <a:pt x="3" y="359"/>
                </a:cubicBezTo>
                <a:cubicBezTo>
                  <a:pt x="50" y="406"/>
                  <a:pt x="50" y="406"/>
                  <a:pt x="50" y="406"/>
                </a:cubicBezTo>
                <a:cubicBezTo>
                  <a:pt x="3" y="452"/>
                  <a:pt x="3" y="452"/>
                  <a:pt x="3" y="452"/>
                </a:cubicBezTo>
                <a:cubicBezTo>
                  <a:pt x="0" y="455"/>
                  <a:pt x="0" y="460"/>
                  <a:pt x="3" y="463"/>
                </a:cubicBezTo>
                <a:cubicBezTo>
                  <a:pt x="5" y="465"/>
                  <a:pt x="7" y="466"/>
                  <a:pt x="9" y="466"/>
                </a:cubicBezTo>
                <a:cubicBezTo>
                  <a:pt x="11" y="466"/>
                  <a:pt x="13" y="465"/>
                  <a:pt x="15" y="463"/>
                </a:cubicBezTo>
                <a:cubicBezTo>
                  <a:pt x="61" y="417"/>
                  <a:pt x="61" y="417"/>
                  <a:pt x="61" y="417"/>
                </a:cubicBezTo>
                <a:cubicBezTo>
                  <a:pt x="108" y="463"/>
                  <a:pt x="108" y="463"/>
                  <a:pt x="108" y="463"/>
                </a:cubicBezTo>
                <a:cubicBezTo>
                  <a:pt x="109" y="465"/>
                  <a:pt x="111" y="466"/>
                  <a:pt x="113" y="466"/>
                </a:cubicBezTo>
                <a:cubicBezTo>
                  <a:pt x="115" y="466"/>
                  <a:pt x="117" y="465"/>
                  <a:pt x="119" y="463"/>
                </a:cubicBezTo>
                <a:cubicBezTo>
                  <a:pt x="122" y="460"/>
                  <a:pt x="122" y="455"/>
                  <a:pt x="119" y="452"/>
                </a:cubicBezTo>
                <a:cubicBezTo>
                  <a:pt x="72" y="406"/>
                  <a:pt x="72" y="406"/>
                  <a:pt x="72" y="406"/>
                </a:cubicBezTo>
                <a:cubicBezTo>
                  <a:pt x="119" y="359"/>
                  <a:pt x="119" y="359"/>
                  <a:pt x="119" y="359"/>
                </a:cubicBezTo>
                <a:cubicBezTo>
                  <a:pt x="122" y="356"/>
                  <a:pt x="122" y="351"/>
                  <a:pt x="119" y="348"/>
                </a:cubicBezTo>
                <a:close/>
                <a:moveTo>
                  <a:pt x="332" y="509"/>
                </a:moveTo>
                <a:cubicBezTo>
                  <a:pt x="332" y="542"/>
                  <a:pt x="305" y="569"/>
                  <a:pt x="272" y="569"/>
                </a:cubicBezTo>
                <a:cubicBezTo>
                  <a:pt x="239" y="569"/>
                  <a:pt x="212" y="542"/>
                  <a:pt x="212" y="509"/>
                </a:cubicBezTo>
                <a:cubicBezTo>
                  <a:pt x="212" y="479"/>
                  <a:pt x="235" y="454"/>
                  <a:pt x="264" y="450"/>
                </a:cubicBezTo>
                <a:cubicBezTo>
                  <a:pt x="264" y="374"/>
                  <a:pt x="264" y="374"/>
                  <a:pt x="264" y="374"/>
                </a:cubicBezTo>
                <a:cubicBezTo>
                  <a:pt x="42" y="152"/>
                  <a:pt x="42" y="152"/>
                  <a:pt x="42" y="152"/>
                </a:cubicBezTo>
                <a:cubicBezTo>
                  <a:pt x="42" y="254"/>
                  <a:pt x="42" y="254"/>
                  <a:pt x="42" y="254"/>
                </a:cubicBezTo>
                <a:cubicBezTo>
                  <a:pt x="42" y="258"/>
                  <a:pt x="39" y="262"/>
                  <a:pt x="34" y="262"/>
                </a:cubicBezTo>
                <a:cubicBezTo>
                  <a:pt x="30" y="262"/>
                  <a:pt x="26" y="258"/>
                  <a:pt x="26" y="254"/>
                </a:cubicBezTo>
                <a:cubicBezTo>
                  <a:pt x="26" y="133"/>
                  <a:pt x="26" y="133"/>
                  <a:pt x="26" y="133"/>
                </a:cubicBezTo>
                <a:cubicBezTo>
                  <a:pt x="26" y="132"/>
                  <a:pt x="26" y="132"/>
                  <a:pt x="26" y="131"/>
                </a:cubicBezTo>
                <a:cubicBezTo>
                  <a:pt x="26" y="131"/>
                  <a:pt x="26" y="131"/>
                  <a:pt x="27" y="131"/>
                </a:cubicBezTo>
                <a:cubicBezTo>
                  <a:pt x="27" y="130"/>
                  <a:pt x="27" y="130"/>
                  <a:pt x="27" y="130"/>
                </a:cubicBezTo>
                <a:cubicBezTo>
                  <a:pt x="27" y="130"/>
                  <a:pt x="27" y="129"/>
                  <a:pt x="27" y="129"/>
                </a:cubicBezTo>
                <a:cubicBezTo>
                  <a:pt x="27" y="129"/>
                  <a:pt x="27" y="129"/>
                  <a:pt x="28" y="128"/>
                </a:cubicBezTo>
                <a:cubicBezTo>
                  <a:pt x="28" y="128"/>
                  <a:pt x="29" y="127"/>
                  <a:pt x="30" y="126"/>
                </a:cubicBezTo>
                <a:cubicBezTo>
                  <a:pt x="30" y="126"/>
                  <a:pt x="30" y="126"/>
                  <a:pt x="30" y="126"/>
                </a:cubicBezTo>
                <a:cubicBezTo>
                  <a:pt x="31" y="126"/>
                  <a:pt x="31" y="126"/>
                  <a:pt x="31" y="126"/>
                </a:cubicBezTo>
                <a:cubicBezTo>
                  <a:pt x="31" y="125"/>
                  <a:pt x="32" y="125"/>
                  <a:pt x="32" y="125"/>
                </a:cubicBezTo>
                <a:cubicBezTo>
                  <a:pt x="32" y="125"/>
                  <a:pt x="32" y="125"/>
                  <a:pt x="33" y="125"/>
                </a:cubicBezTo>
                <a:cubicBezTo>
                  <a:pt x="33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34" y="125"/>
                  <a:pt x="34" y="125"/>
                  <a:pt x="34" y="125"/>
                </a:cubicBezTo>
                <a:cubicBezTo>
                  <a:pt x="155" y="125"/>
                  <a:pt x="155" y="125"/>
                  <a:pt x="155" y="125"/>
                </a:cubicBezTo>
                <a:cubicBezTo>
                  <a:pt x="159" y="125"/>
                  <a:pt x="163" y="129"/>
                  <a:pt x="163" y="133"/>
                </a:cubicBezTo>
                <a:cubicBezTo>
                  <a:pt x="163" y="137"/>
                  <a:pt x="159" y="141"/>
                  <a:pt x="155" y="141"/>
                </a:cubicBezTo>
                <a:cubicBezTo>
                  <a:pt x="53" y="141"/>
                  <a:pt x="53" y="141"/>
                  <a:pt x="53" y="141"/>
                </a:cubicBezTo>
                <a:cubicBezTo>
                  <a:pt x="278" y="365"/>
                  <a:pt x="278" y="365"/>
                  <a:pt x="278" y="365"/>
                </a:cubicBezTo>
                <a:cubicBezTo>
                  <a:pt x="279" y="367"/>
                  <a:pt x="280" y="369"/>
                  <a:pt x="280" y="371"/>
                </a:cubicBezTo>
                <a:cubicBezTo>
                  <a:pt x="280" y="450"/>
                  <a:pt x="280" y="450"/>
                  <a:pt x="280" y="450"/>
                </a:cubicBezTo>
                <a:cubicBezTo>
                  <a:pt x="309" y="454"/>
                  <a:pt x="332" y="479"/>
                  <a:pt x="332" y="509"/>
                </a:cubicBezTo>
                <a:close/>
                <a:moveTo>
                  <a:pt x="316" y="509"/>
                </a:moveTo>
                <a:cubicBezTo>
                  <a:pt x="316" y="485"/>
                  <a:pt x="296" y="466"/>
                  <a:pt x="272" y="466"/>
                </a:cubicBezTo>
                <a:cubicBezTo>
                  <a:pt x="248" y="466"/>
                  <a:pt x="228" y="485"/>
                  <a:pt x="228" y="509"/>
                </a:cubicBezTo>
                <a:cubicBezTo>
                  <a:pt x="228" y="533"/>
                  <a:pt x="248" y="553"/>
                  <a:pt x="272" y="553"/>
                </a:cubicBezTo>
                <a:cubicBezTo>
                  <a:pt x="296" y="553"/>
                  <a:pt x="316" y="533"/>
                  <a:pt x="316" y="50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121"/>
          <p:cNvSpPr>
            <a:spLocks noEditPoints="1"/>
          </p:cNvSpPr>
          <p:nvPr/>
        </p:nvSpPr>
        <p:spPr bwMode="auto">
          <a:xfrm>
            <a:off x="8321307" y="2564905"/>
            <a:ext cx="402524" cy="327818"/>
          </a:xfrm>
          <a:custGeom>
            <a:avLst/>
            <a:gdLst>
              <a:gd name="T0" fmla="*/ 333 w 703"/>
              <a:gd name="T1" fmla="*/ 406 h 572"/>
              <a:gd name="T2" fmla="*/ 198 w 703"/>
              <a:gd name="T3" fmla="*/ 553 h 572"/>
              <a:gd name="T4" fmla="*/ 157 w 703"/>
              <a:gd name="T5" fmla="*/ 568 h 572"/>
              <a:gd name="T6" fmla="*/ 79 w 703"/>
              <a:gd name="T7" fmla="*/ 460 h 572"/>
              <a:gd name="T8" fmla="*/ 207 w 703"/>
              <a:gd name="T9" fmla="*/ 350 h 572"/>
              <a:gd name="T10" fmla="*/ 112 w 703"/>
              <a:gd name="T11" fmla="*/ 218 h 572"/>
              <a:gd name="T12" fmla="*/ 17 w 703"/>
              <a:gd name="T13" fmla="*/ 75 h 572"/>
              <a:gd name="T14" fmla="*/ 82 w 703"/>
              <a:gd name="T15" fmla="*/ 129 h 572"/>
              <a:gd name="T16" fmla="*/ 76 w 703"/>
              <a:gd name="T17" fmla="*/ 24 h 572"/>
              <a:gd name="T18" fmla="*/ 112 w 703"/>
              <a:gd name="T19" fmla="*/ 8 h 572"/>
              <a:gd name="T20" fmla="*/ 317 w 703"/>
              <a:gd name="T21" fmla="*/ 245 h 572"/>
              <a:gd name="T22" fmla="*/ 381 w 703"/>
              <a:gd name="T23" fmla="*/ 208 h 572"/>
              <a:gd name="T24" fmla="*/ 400 w 703"/>
              <a:gd name="T25" fmla="*/ 75 h 572"/>
              <a:gd name="T26" fmla="*/ 300 w 703"/>
              <a:gd name="T27" fmla="*/ 32 h 572"/>
              <a:gd name="T28" fmla="*/ 563 w 703"/>
              <a:gd name="T29" fmla="*/ 80 h 572"/>
              <a:gd name="T30" fmla="*/ 609 w 703"/>
              <a:gd name="T31" fmla="*/ 172 h 572"/>
              <a:gd name="T32" fmla="*/ 695 w 703"/>
              <a:gd name="T33" fmla="*/ 219 h 572"/>
              <a:gd name="T34" fmla="*/ 611 w 703"/>
              <a:gd name="T35" fmla="*/ 324 h 572"/>
              <a:gd name="T36" fmla="*/ 557 w 703"/>
              <a:gd name="T37" fmla="*/ 265 h 572"/>
              <a:gd name="T38" fmla="*/ 439 w 703"/>
              <a:gd name="T39" fmla="*/ 265 h 572"/>
              <a:gd name="T40" fmla="*/ 402 w 703"/>
              <a:gd name="T41" fmla="*/ 330 h 572"/>
              <a:gd name="T42" fmla="*/ 555 w 703"/>
              <a:gd name="T43" fmla="*/ 556 h 572"/>
              <a:gd name="T44" fmla="*/ 338 w 703"/>
              <a:gd name="T45" fmla="*/ 392 h 572"/>
              <a:gd name="T46" fmla="*/ 545 w 703"/>
              <a:gd name="T47" fmla="*/ 546 h 572"/>
              <a:gd name="T48" fmla="*/ 387 w 703"/>
              <a:gd name="T49" fmla="*/ 336 h 572"/>
              <a:gd name="T50" fmla="*/ 425 w 703"/>
              <a:gd name="T51" fmla="*/ 276 h 572"/>
              <a:gd name="T52" fmla="*/ 423 w 703"/>
              <a:gd name="T53" fmla="*/ 265 h 572"/>
              <a:gd name="T54" fmla="*/ 560 w 703"/>
              <a:gd name="T55" fmla="*/ 217 h 572"/>
              <a:gd name="T56" fmla="*/ 606 w 703"/>
              <a:gd name="T57" fmla="*/ 308 h 572"/>
              <a:gd name="T58" fmla="*/ 685 w 703"/>
              <a:gd name="T59" fmla="*/ 229 h 572"/>
              <a:gd name="T60" fmla="*/ 644 w 703"/>
              <a:gd name="T61" fmla="*/ 193 h 572"/>
              <a:gd name="T62" fmla="*/ 594 w 703"/>
              <a:gd name="T63" fmla="*/ 142 h 572"/>
              <a:gd name="T64" fmla="*/ 314 w 703"/>
              <a:gd name="T65" fmla="*/ 28 h 572"/>
              <a:gd name="T66" fmla="*/ 324 w 703"/>
              <a:gd name="T67" fmla="*/ 29 h 572"/>
              <a:gd name="T68" fmla="*/ 414 w 703"/>
              <a:gd name="T69" fmla="*/ 195 h 572"/>
              <a:gd name="T70" fmla="*/ 377 w 703"/>
              <a:gd name="T71" fmla="*/ 222 h 572"/>
              <a:gd name="T72" fmla="*/ 359 w 703"/>
              <a:gd name="T73" fmla="*/ 230 h 572"/>
              <a:gd name="T74" fmla="*/ 200 w 703"/>
              <a:gd name="T75" fmla="*/ 148 h 572"/>
              <a:gd name="T76" fmla="*/ 112 w 703"/>
              <a:gd name="T77" fmla="*/ 22 h 572"/>
              <a:gd name="T78" fmla="*/ 131 w 703"/>
              <a:gd name="T79" fmla="*/ 132 h 572"/>
              <a:gd name="T80" fmla="*/ 22 w 703"/>
              <a:gd name="T81" fmla="*/ 95 h 572"/>
              <a:gd name="T82" fmla="*/ 140 w 703"/>
              <a:gd name="T83" fmla="*/ 199 h 572"/>
              <a:gd name="T84" fmla="*/ 255 w 703"/>
              <a:gd name="T85" fmla="*/ 318 h 572"/>
              <a:gd name="T86" fmla="*/ 98 w 703"/>
              <a:gd name="T87" fmla="*/ 464 h 572"/>
              <a:gd name="T88" fmla="*/ 142 w 703"/>
              <a:gd name="T89" fmla="*/ 533 h 572"/>
              <a:gd name="T90" fmla="*/ 178 w 703"/>
              <a:gd name="T91" fmla="*/ 557 h 572"/>
              <a:gd name="T92" fmla="*/ 299 w 703"/>
              <a:gd name="T93" fmla="*/ 417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03" h="572">
                <a:moveTo>
                  <a:pt x="518" y="572"/>
                </a:moveTo>
                <a:cubicBezTo>
                  <a:pt x="505" y="572"/>
                  <a:pt x="494" y="568"/>
                  <a:pt x="486" y="559"/>
                </a:cubicBezTo>
                <a:cubicBezTo>
                  <a:pt x="333" y="406"/>
                  <a:pt x="333" y="406"/>
                  <a:pt x="333" y="406"/>
                </a:cubicBezTo>
                <a:cubicBezTo>
                  <a:pt x="324" y="414"/>
                  <a:pt x="316" y="421"/>
                  <a:pt x="308" y="428"/>
                </a:cubicBezTo>
                <a:cubicBezTo>
                  <a:pt x="296" y="438"/>
                  <a:pt x="285" y="448"/>
                  <a:pt x="272" y="461"/>
                </a:cubicBezTo>
                <a:cubicBezTo>
                  <a:pt x="252" y="481"/>
                  <a:pt x="216" y="530"/>
                  <a:pt x="198" y="553"/>
                </a:cubicBezTo>
                <a:cubicBezTo>
                  <a:pt x="190" y="565"/>
                  <a:pt x="188" y="567"/>
                  <a:pt x="187" y="568"/>
                </a:cubicBezTo>
                <a:cubicBezTo>
                  <a:pt x="184" y="571"/>
                  <a:pt x="177" y="572"/>
                  <a:pt x="172" y="572"/>
                </a:cubicBezTo>
                <a:cubicBezTo>
                  <a:pt x="167" y="572"/>
                  <a:pt x="160" y="571"/>
                  <a:pt x="157" y="568"/>
                </a:cubicBezTo>
                <a:cubicBezTo>
                  <a:pt x="155" y="566"/>
                  <a:pt x="145" y="556"/>
                  <a:pt x="132" y="543"/>
                </a:cubicBezTo>
                <a:cubicBezTo>
                  <a:pt x="132" y="543"/>
                  <a:pt x="83" y="494"/>
                  <a:pt x="79" y="490"/>
                </a:cubicBezTo>
                <a:cubicBezTo>
                  <a:pt x="74" y="484"/>
                  <a:pt x="73" y="466"/>
                  <a:pt x="79" y="460"/>
                </a:cubicBezTo>
                <a:cubicBezTo>
                  <a:pt x="80" y="459"/>
                  <a:pt x="82" y="457"/>
                  <a:pt x="90" y="452"/>
                </a:cubicBezTo>
                <a:cubicBezTo>
                  <a:pt x="108" y="441"/>
                  <a:pt x="144" y="418"/>
                  <a:pt x="163" y="398"/>
                </a:cubicBezTo>
                <a:cubicBezTo>
                  <a:pt x="176" y="385"/>
                  <a:pt x="191" y="368"/>
                  <a:pt x="207" y="350"/>
                </a:cubicBezTo>
                <a:cubicBezTo>
                  <a:pt x="218" y="338"/>
                  <a:pt x="229" y="325"/>
                  <a:pt x="240" y="314"/>
                </a:cubicBezTo>
                <a:cubicBezTo>
                  <a:pt x="140" y="214"/>
                  <a:pt x="140" y="214"/>
                  <a:pt x="140" y="214"/>
                </a:cubicBezTo>
                <a:cubicBezTo>
                  <a:pt x="131" y="216"/>
                  <a:pt x="121" y="218"/>
                  <a:pt x="112" y="218"/>
                </a:cubicBezTo>
                <a:cubicBezTo>
                  <a:pt x="84" y="218"/>
                  <a:pt x="57" y="207"/>
                  <a:pt x="37" y="187"/>
                </a:cubicBezTo>
                <a:cubicBezTo>
                  <a:pt x="9" y="159"/>
                  <a:pt x="0" y="118"/>
                  <a:pt x="12" y="80"/>
                </a:cubicBezTo>
                <a:cubicBezTo>
                  <a:pt x="13" y="77"/>
                  <a:pt x="15" y="76"/>
                  <a:pt x="17" y="75"/>
                </a:cubicBezTo>
                <a:cubicBezTo>
                  <a:pt x="19" y="74"/>
                  <a:pt x="22" y="75"/>
                  <a:pt x="24" y="77"/>
                </a:cubicBezTo>
                <a:cubicBezTo>
                  <a:pt x="75" y="128"/>
                  <a:pt x="75" y="128"/>
                  <a:pt x="75" y="128"/>
                </a:cubicBezTo>
                <a:cubicBezTo>
                  <a:pt x="76" y="129"/>
                  <a:pt x="78" y="129"/>
                  <a:pt x="82" y="129"/>
                </a:cubicBezTo>
                <a:cubicBezTo>
                  <a:pt x="96" y="129"/>
                  <a:pt x="117" y="125"/>
                  <a:pt x="121" y="122"/>
                </a:cubicBezTo>
                <a:cubicBezTo>
                  <a:pt x="125" y="115"/>
                  <a:pt x="129" y="83"/>
                  <a:pt x="127" y="76"/>
                </a:cubicBezTo>
                <a:cubicBezTo>
                  <a:pt x="76" y="24"/>
                  <a:pt x="76" y="24"/>
                  <a:pt x="76" y="24"/>
                </a:cubicBezTo>
                <a:cubicBezTo>
                  <a:pt x="74" y="23"/>
                  <a:pt x="74" y="20"/>
                  <a:pt x="74" y="18"/>
                </a:cubicBezTo>
                <a:cubicBezTo>
                  <a:pt x="75" y="15"/>
                  <a:pt x="77" y="14"/>
                  <a:pt x="79" y="13"/>
                </a:cubicBezTo>
                <a:cubicBezTo>
                  <a:pt x="89" y="9"/>
                  <a:pt x="101" y="8"/>
                  <a:pt x="112" y="8"/>
                </a:cubicBezTo>
                <a:cubicBezTo>
                  <a:pt x="140" y="8"/>
                  <a:pt x="166" y="18"/>
                  <a:pt x="186" y="38"/>
                </a:cubicBezTo>
                <a:cubicBezTo>
                  <a:pt x="213" y="65"/>
                  <a:pt x="223" y="104"/>
                  <a:pt x="213" y="141"/>
                </a:cubicBezTo>
                <a:cubicBezTo>
                  <a:pt x="317" y="245"/>
                  <a:pt x="317" y="245"/>
                  <a:pt x="317" y="245"/>
                </a:cubicBezTo>
                <a:cubicBezTo>
                  <a:pt x="330" y="235"/>
                  <a:pt x="342" y="226"/>
                  <a:pt x="351" y="219"/>
                </a:cubicBezTo>
                <a:cubicBezTo>
                  <a:pt x="356" y="215"/>
                  <a:pt x="360" y="212"/>
                  <a:pt x="362" y="211"/>
                </a:cubicBezTo>
                <a:cubicBezTo>
                  <a:pt x="368" y="206"/>
                  <a:pt x="375" y="205"/>
                  <a:pt x="381" y="208"/>
                </a:cubicBezTo>
                <a:cubicBezTo>
                  <a:pt x="387" y="203"/>
                  <a:pt x="387" y="203"/>
                  <a:pt x="387" y="203"/>
                </a:cubicBezTo>
                <a:cubicBezTo>
                  <a:pt x="404" y="185"/>
                  <a:pt x="404" y="185"/>
                  <a:pt x="404" y="185"/>
                </a:cubicBezTo>
                <a:cubicBezTo>
                  <a:pt x="424" y="165"/>
                  <a:pt x="450" y="125"/>
                  <a:pt x="400" y="75"/>
                </a:cubicBezTo>
                <a:cubicBezTo>
                  <a:pt x="369" y="45"/>
                  <a:pt x="332" y="43"/>
                  <a:pt x="324" y="43"/>
                </a:cubicBezTo>
                <a:cubicBezTo>
                  <a:pt x="321" y="43"/>
                  <a:pt x="319" y="43"/>
                  <a:pt x="318" y="43"/>
                </a:cubicBezTo>
                <a:cubicBezTo>
                  <a:pt x="310" y="45"/>
                  <a:pt x="302" y="40"/>
                  <a:pt x="300" y="32"/>
                </a:cubicBezTo>
                <a:cubicBezTo>
                  <a:pt x="299" y="25"/>
                  <a:pt x="301" y="19"/>
                  <a:pt x="307" y="16"/>
                </a:cubicBezTo>
                <a:cubicBezTo>
                  <a:pt x="325" y="6"/>
                  <a:pt x="354" y="0"/>
                  <a:pt x="383" y="0"/>
                </a:cubicBezTo>
                <a:cubicBezTo>
                  <a:pt x="429" y="0"/>
                  <a:pt x="497" y="14"/>
                  <a:pt x="563" y="80"/>
                </a:cubicBezTo>
                <a:cubicBezTo>
                  <a:pt x="593" y="110"/>
                  <a:pt x="606" y="127"/>
                  <a:pt x="608" y="140"/>
                </a:cubicBezTo>
                <a:cubicBezTo>
                  <a:pt x="609" y="146"/>
                  <a:pt x="608" y="152"/>
                  <a:pt x="608" y="157"/>
                </a:cubicBezTo>
                <a:cubicBezTo>
                  <a:pt x="607" y="164"/>
                  <a:pt x="607" y="169"/>
                  <a:pt x="609" y="172"/>
                </a:cubicBezTo>
                <a:cubicBezTo>
                  <a:pt x="617" y="179"/>
                  <a:pt x="627" y="181"/>
                  <a:pt x="642" y="179"/>
                </a:cubicBezTo>
                <a:cubicBezTo>
                  <a:pt x="649" y="178"/>
                  <a:pt x="657" y="181"/>
                  <a:pt x="662" y="186"/>
                </a:cubicBezTo>
                <a:cubicBezTo>
                  <a:pt x="695" y="219"/>
                  <a:pt x="695" y="219"/>
                  <a:pt x="695" y="219"/>
                </a:cubicBezTo>
                <a:cubicBezTo>
                  <a:pt x="703" y="227"/>
                  <a:pt x="703" y="240"/>
                  <a:pt x="695" y="249"/>
                </a:cubicBezTo>
                <a:cubicBezTo>
                  <a:pt x="626" y="318"/>
                  <a:pt x="626" y="318"/>
                  <a:pt x="626" y="318"/>
                </a:cubicBezTo>
                <a:cubicBezTo>
                  <a:pt x="622" y="322"/>
                  <a:pt x="616" y="324"/>
                  <a:pt x="611" y="324"/>
                </a:cubicBezTo>
                <a:cubicBezTo>
                  <a:pt x="605" y="324"/>
                  <a:pt x="600" y="322"/>
                  <a:pt x="596" y="318"/>
                </a:cubicBezTo>
                <a:cubicBezTo>
                  <a:pt x="563" y="285"/>
                  <a:pt x="563" y="285"/>
                  <a:pt x="563" y="285"/>
                </a:cubicBezTo>
                <a:cubicBezTo>
                  <a:pt x="558" y="280"/>
                  <a:pt x="556" y="273"/>
                  <a:pt x="557" y="265"/>
                </a:cubicBezTo>
                <a:cubicBezTo>
                  <a:pt x="561" y="247"/>
                  <a:pt x="558" y="235"/>
                  <a:pt x="550" y="227"/>
                </a:cubicBezTo>
                <a:cubicBezTo>
                  <a:pt x="537" y="214"/>
                  <a:pt x="528" y="210"/>
                  <a:pt x="512" y="212"/>
                </a:cubicBezTo>
                <a:cubicBezTo>
                  <a:pt x="498" y="214"/>
                  <a:pt x="471" y="234"/>
                  <a:pt x="439" y="265"/>
                </a:cubicBezTo>
                <a:cubicBezTo>
                  <a:pt x="442" y="272"/>
                  <a:pt x="442" y="279"/>
                  <a:pt x="436" y="285"/>
                </a:cubicBezTo>
                <a:cubicBezTo>
                  <a:pt x="435" y="287"/>
                  <a:pt x="432" y="291"/>
                  <a:pt x="428" y="296"/>
                </a:cubicBezTo>
                <a:cubicBezTo>
                  <a:pt x="421" y="305"/>
                  <a:pt x="412" y="317"/>
                  <a:pt x="402" y="330"/>
                </a:cubicBezTo>
                <a:cubicBezTo>
                  <a:pt x="559" y="487"/>
                  <a:pt x="559" y="487"/>
                  <a:pt x="559" y="487"/>
                </a:cubicBezTo>
                <a:cubicBezTo>
                  <a:pt x="567" y="496"/>
                  <a:pt x="572" y="508"/>
                  <a:pt x="571" y="521"/>
                </a:cubicBezTo>
                <a:cubicBezTo>
                  <a:pt x="570" y="534"/>
                  <a:pt x="565" y="546"/>
                  <a:pt x="555" y="556"/>
                </a:cubicBezTo>
                <a:cubicBezTo>
                  <a:pt x="545" y="566"/>
                  <a:pt x="531" y="572"/>
                  <a:pt x="518" y="572"/>
                </a:cubicBezTo>
                <a:close/>
                <a:moveTo>
                  <a:pt x="333" y="390"/>
                </a:moveTo>
                <a:cubicBezTo>
                  <a:pt x="335" y="390"/>
                  <a:pt x="337" y="390"/>
                  <a:pt x="338" y="392"/>
                </a:cubicBezTo>
                <a:cubicBezTo>
                  <a:pt x="496" y="550"/>
                  <a:pt x="496" y="550"/>
                  <a:pt x="496" y="550"/>
                </a:cubicBezTo>
                <a:cubicBezTo>
                  <a:pt x="502" y="555"/>
                  <a:pt x="509" y="558"/>
                  <a:pt x="518" y="558"/>
                </a:cubicBezTo>
                <a:cubicBezTo>
                  <a:pt x="527" y="558"/>
                  <a:pt x="538" y="554"/>
                  <a:pt x="545" y="546"/>
                </a:cubicBezTo>
                <a:cubicBezTo>
                  <a:pt x="552" y="539"/>
                  <a:pt x="557" y="530"/>
                  <a:pt x="557" y="520"/>
                </a:cubicBezTo>
                <a:cubicBezTo>
                  <a:pt x="558" y="511"/>
                  <a:pt x="555" y="503"/>
                  <a:pt x="549" y="497"/>
                </a:cubicBezTo>
                <a:cubicBezTo>
                  <a:pt x="387" y="336"/>
                  <a:pt x="387" y="336"/>
                  <a:pt x="387" y="336"/>
                </a:cubicBezTo>
                <a:cubicBezTo>
                  <a:pt x="385" y="333"/>
                  <a:pt x="385" y="329"/>
                  <a:pt x="387" y="326"/>
                </a:cubicBezTo>
                <a:cubicBezTo>
                  <a:pt x="399" y="312"/>
                  <a:pt x="409" y="297"/>
                  <a:pt x="416" y="288"/>
                </a:cubicBezTo>
                <a:cubicBezTo>
                  <a:pt x="421" y="282"/>
                  <a:pt x="424" y="278"/>
                  <a:pt x="425" y="276"/>
                </a:cubicBezTo>
                <a:cubicBezTo>
                  <a:pt x="428" y="274"/>
                  <a:pt x="428" y="272"/>
                  <a:pt x="425" y="270"/>
                </a:cubicBezTo>
                <a:cubicBezTo>
                  <a:pt x="425" y="270"/>
                  <a:pt x="425" y="269"/>
                  <a:pt x="425" y="269"/>
                </a:cubicBezTo>
                <a:cubicBezTo>
                  <a:pt x="423" y="268"/>
                  <a:pt x="423" y="267"/>
                  <a:pt x="423" y="265"/>
                </a:cubicBezTo>
                <a:cubicBezTo>
                  <a:pt x="422" y="263"/>
                  <a:pt x="423" y="261"/>
                  <a:pt x="425" y="259"/>
                </a:cubicBezTo>
                <a:cubicBezTo>
                  <a:pt x="451" y="233"/>
                  <a:pt x="487" y="201"/>
                  <a:pt x="511" y="198"/>
                </a:cubicBezTo>
                <a:cubicBezTo>
                  <a:pt x="534" y="196"/>
                  <a:pt x="547" y="204"/>
                  <a:pt x="560" y="217"/>
                </a:cubicBezTo>
                <a:cubicBezTo>
                  <a:pt x="571" y="228"/>
                  <a:pt x="575" y="245"/>
                  <a:pt x="571" y="267"/>
                </a:cubicBezTo>
                <a:cubicBezTo>
                  <a:pt x="571" y="269"/>
                  <a:pt x="570" y="273"/>
                  <a:pt x="573" y="275"/>
                </a:cubicBezTo>
                <a:cubicBezTo>
                  <a:pt x="606" y="308"/>
                  <a:pt x="606" y="308"/>
                  <a:pt x="606" y="308"/>
                </a:cubicBezTo>
                <a:cubicBezTo>
                  <a:pt x="608" y="310"/>
                  <a:pt x="613" y="310"/>
                  <a:pt x="616" y="308"/>
                </a:cubicBezTo>
                <a:cubicBezTo>
                  <a:pt x="685" y="239"/>
                  <a:pt x="685" y="239"/>
                  <a:pt x="685" y="239"/>
                </a:cubicBezTo>
                <a:cubicBezTo>
                  <a:pt x="687" y="236"/>
                  <a:pt x="687" y="232"/>
                  <a:pt x="685" y="229"/>
                </a:cubicBezTo>
                <a:cubicBezTo>
                  <a:pt x="652" y="196"/>
                  <a:pt x="652" y="196"/>
                  <a:pt x="652" y="196"/>
                </a:cubicBezTo>
                <a:cubicBezTo>
                  <a:pt x="650" y="194"/>
                  <a:pt x="647" y="193"/>
                  <a:pt x="645" y="193"/>
                </a:cubicBezTo>
                <a:cubicBezTo>
                  <a:pt x="645" y="193"/>
                  <a:pt x="644" y="193"/>
                  <a:pt x="644" y="193"/>
                </a:cubicBezTo>
                <a:cubicBezTo>
                  <a:pt x="624" y="196"/>
                  <a:pt x="610" y="192"/>
                  <a:pt x="600" y="182"/>
                </a:cubicBezTo>
                <a:cubicBezTo>
                  <a:pt x="592" y="174"/>
                  <a:pt x="593" y="164"/>
                  <a:pt x="594" y="155"/>
                </a:cubicBezTo>
                <a:cubicBezTo>
                  <a:pt x="594" y="151"/>
                  <a:pt x="595" y="146"/>
                  <a:pt x="594" y="142"/>
                </a:cubicBezTo>
                <a:cubicBezTo>
                  <a:pt x="592" y="129"/>
                  <a:pt x="563" y="100"/>
                  <a:pt x="553" y="90"/>
                </a:cubicBezTo>
                <a:cubicBezTo>
                  <a:pt x="490" y="27"/>
                  <a:pt x="426" y="14"/>
                  <a:pt x="383" y="14"/>
                </a:cubicBezTo>
                <a:cubicBezTo>
                  <a:pt x="351" y="14"/>
                  <a:pt x="326" y="21"/>
                  <a:pt x="314" y="28"/>
                </a:cubicBezTo>
                <a:cubicBezTo>
                  <a:pt x="314" y="28"/>
                  <a:pt x="314" y="29"/>
                  <a:pt x="314" y="29"/>
                </a:cubicBezTo>
                <a:cubicBezTo>
                  <a:pt x="315" y="30"/>
                  <a:pt x="315" y="30"/>
                  <a:pt x="315" y="30"/>
                </a:cubicBezTo>
                <a:cubicBezTo>
                  <a:pt x="318" y="29"/>
                  <a:pt x="321" y="29"/>
                  <a:pt x="324" y="29"/>
                </a:cubicBezTo>
                <a:cubicBezTo>
                  <a:pt x="333" y="29"/>
                  <a:pt x="375" y="31"/>
                  <a:pt x="410" y="65"/>
                </a:cubicBezTo>
                <a:cubicBezTo>
                  <a:pt x="435" y="90"/>
                  <a:pt x="446" y="116"/>
                  <a:pt x="442" y="143"/>
                </a:cubicBezTo>
                <a:cubicBezTo>
                  <a:pt x="439" y="168"/>
                  <a:pt x="423" y="186"/>
                  <a:pt x="414" y="195"/>
                </a:cubicBezTo>
                <a:cubicBezTo>
                  <a:pt x="396" y="213"/>
                  <a:pt x="396" y="213"/>
                  <a:pt x="396" y="213"/>
                </a:cubicBezTo>
                <a:cubicBezTo>
                  <a:pt x="387" y="222"/>
                  <a:pt x="387" y="222"/>
                  <a:pt x="387" y="222"/>
                </a:cubicBezTo>
                <a:cubicBezTo>
                  <a:pt x="384" y="224"/>
                  <a:pt x="380" y="224"/>
                  <a:pt x="377" y="222"/>
                </a:cubicBezTo>
                <a:cubicBezTo>
                  <a:pt x="376" y="221"/>
                  <a:pt x="375" y="220"/>
                  <a:pt x="374" y="220"/>
                </a:cubicBezTo>
                <a:cubicBezTo>
                  <a:pt x="373" y="220"/>
                  <a:pt x="372" y="220"/>
                  <a:pt x="371" y="222"/>
                </a:cubicBezTo>
                <a:cubicBezTo>
                  <a:pt x="369" y="223"/>
                  <a:pt x="365" y="226"/>
                  <a:pt x="359" y="230"/>
                </a:cubicBezTo>
                <a:cubicBezTo>
                  <a:pt x="350" y="237"/>
                  <a:pt x="336" y="248"/>
                  <a:pt x="321" y="260"/>
                </a:cubicBezTo>
                <a:cubicBezTo>
                  <a:pt x="318" y="262"/>
                  <a:pt x="314" y="262"/>
                  <a:pt x="311" y="260"/>
                </a:cubicBezTo>
                <a:cubicBezTo>
                  <a:pt x="200" y="148"/>
                  <a:pt x="200" y="148"/>
                  <a:pt x="200" y="148"/>
                </a:cubicBezTo>
                <a:cubicBezTo>
                  <a:pt x="198" y="146"/>
                  <a:pt x="197" y="144"/>
                  <a:pt x="198" y="141"/>
                </a:cubicBezTo>
                <a:cubicBezTo>
                  <a:pt x="209" y="108"/>
                  <a:pt x="201" y="73"/>
                  <a:pt x="176" y="48"/>
                </a:cubicBezTo>
                <a:cubicBezTo>
                  <a:pt x="159" y="31"/>
                  <a:pt x="136" y="22"/>
                  <a:pt x="112" y="22"/>
                </a:cubicBezTo>
                <a:cubicBezTo>
                  <a:pt x="106" y="22"/>
                  <a:pt x="100" y="22"/>
                  <a:pt x="95" y="23"/>
                </a:cubicBezTo>
                <a:cubicBezTo>
                  <a:pt x="138" y="66"/>
                  <a:pt x="138" y="66"/>
                  <a:pt x="138" y="66"/>
                </a:cubicBezTo>
                <a:cubicBezTo>
                  <a:pt x="147" y="75"/>
                  <a:pt x="138" y="125"/>
                  <a:pt x="131" y="132"/>
                </a:cubicBezTo>
                <a:cubicBezTo>
                  <a:pt x="124" y="139"/>
                  <a:pt x="95" y="143"/>
                  <a:pt x="82" y="143"/>
                </a:cubicBezTo>
                <a:cubicBezTo>
                  <a:pt x="73" y="143"/>
                  <a:pt x="69" y="142"/>
                  <a:pt x="66" y="139"/>
                </a:cubicBezTo>
                <a:cubicBezTo>
                  <a:pt x="22" y="95"/>
                  <a:pt x="22" y="95"/>
                  <a:pt x="22" y="95"/>
                </a:cubicBezTo>
                <a:cubicBezTo>
                  <a:pt x="17" y="125"/>
                  <a:pt x="26" y="155"/>
                  <a:pt x="47" y="177"/>
                </a:cubicBezTo>
                <a:cubicBezTo>
                  <a:pt x="65" y="194"/>
                  <a:pt x="87" y="204"/>
                  <a:pt x="112" y="204"/>
                </a:cubicBezTo>
                <a:cubicBezTo>
                  <a:pt x="121" y="204"/>
                  <a:pt x="131" y="202"/>
                  <a:pt x="140" y="199"/>
                </a:cubicBezTo>
                <a:cubicBezTo>
                  <a:pt x="143" y="198"/>
                  <a:pt x="145" y="199"/>
                  <a:pt x="147" y="201"/>
                </a:cubicBezTo>
                <a:cubicBezTo>
                  <a:pt x="255" y="308"/>
                  <a:pt x="255" y="308"/>
                  <a:pt x="255" y="308"/>
                </a:cubicBezTo>
                <a:cubicBezTo>
                  <a:pt x="258" y="311"/>
                  <a:pt x="258" y="315"/>
                  <a:pt x="255" y="318"/>
                </a:cubicBezTo>
                <a:cubicBezTo>
                  <a:pt x="243" y="331"/>
                  <a:pt x="230" y="346"/>
                  <a:pt x="217" y="360"/>
                </a:cubicBezTo>
                <a:cubicBezTo>
                  <a:pt x="201" y="378"/>
                  <a:pt x="186" y="395"/>
                  <a:pt x="173" y="408"/>
                </a:cubicBezTo>
                <a:cubicBezTo>
                  <a:pt x="152" y="428"/>
                  <a:pt x="116" y="452"/>
                  <a:pt x="98" y="464"/>
                </a:cubicBezTo>
                <a:cubicBezTo>
                  <a:pt x="95" y="466"/>
                  <a:pt x="91" y="468"/>
                  <a:pt x="89" y="469"/>
                </a:cubicBezTo>
                <a:cubicBezTo>
                  <a:pt x="89" y="472"/>
                  <a:pt x="89" y="479"/>
                  <a:pt x="90" y="481"/>
                </a:cubicBezTo>
                <a:cubicBezTo>
                  <a:pt x="95" y="486"/>
                  <a:pt x="142" y="533"/>
                  <a:pt x="142" y="533"/>
                </a:cubicBezTo>
                <a:cubicBezTo>
                  <a:pt x="154" y="545"/>
                  <a:pt x="164" y="555"/>
                  <a:pt x="166" y="557"/>
                </a:cubicBezTo>
                <a:cubicBezTo>
                  <a:pt x="167" y="558"/>
                  <a:pt x="169" y="558"/>
                  <a:pt x="172" y="558"/>
                </a:cubicBezTo>
                <a:cubicBezTo>
                  <a:pt x="175" y="558"/>
                  <a:pt x="177" y="558"/>
                  <a:pt x="178" y="557"/>
                </a:cubicBezTo>
                <a:cubicBezTo>
                  <a:pt x="179" y="556"/>
                  <a:pt x="183" y="551"/>
                  <a:pt x="187" y="545"/>
                </a:cubicBezTo>
                <a:cubicBezTo>
                  <a:pt x="204" y="521"/>
                  <a:pt x="241" y="472"/>
                  <a:pt x="262" y="451"/>
                </a:cubicBezTo>
                <a:cubicBezTo>
                  <a:pt x="275" y="438"/>
                  <a:pt x="287" y="428"/>
                  <a:pt x="299" y="417"/>
                </a:cubicBezTo>
                <a:cubicBezTo>
                  <a:pt x="309" y="409"/>
                  <a:pt x="318" y="401"/>
                  <a:pt x="329" y="392"/>
                </a:cubicBezTo>
                <a:cubicBezTo>
                  <a:pt x="330" y="390"/>
                  <a:pt x="332" y="390"/>
                  <a:pt x="333" y="39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036AA44-6898-4820-BCE8-3018AE9DCD26}"/>
              </a:ext>
            </a:extLst>
          </p:cNvPr>
          <p:cNvGrpSpPr/>
          <p:nvPr/>
        </p:nvGrpSpPr>
        <p:grpSpPr>
          <a:xfrm>
            <a:off x="2047991" y="2828402"/>
            <a:ext cx="1531767" cy="1533600"/>
            <a:chOff x="1400198" y="1333762"/>
            <a:chExt cx="807030" cy="717376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3E38698E-FD10-4390-9E55-0B63B0EED499}"/>
                </a:ext>
              </a:extLst>
            </p:cNvPr>
            <p:cNvSpPr/>
            <p:nvPr/>
          </p:nvSpPr>
          <p:spPr>
            <a:xfrm>
              <a:off x="1400198" y="1333762"/>
              <a:ext cx="807030" cy="717376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noProof="0"/>
            </a:p>
          </p:txBody>
        </p:sp>
        <p:pic>
          <p:nvPicPr>
            <p:cNvPr id="45" name="Graphic 44" descr="Watering pot with solid fill">
              <a:extLst>
                <a:ext uri="{FF2B5EF4-FFF2-40B4-BE49-F238E27FC236}">
                  <a16:creationId xmlns:a16="http://schemas.microsoft.com/office/drawing/2014/main" id="{8EE4FE22-8ABB-4491-9DAE-1D43F74F9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16567" y="1377726"/>
              <a:ext cx="617712" cy="605533"/>
            </a:xfrm>
            <a:prstGeom prst="rect">
              <a:avLst/>
            </a:prstGeom>
          </p:spPr>
        </p:pic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A830CFD9-635D-48E4-AE01-59330CC0496A}"/>
              </a:ext>
            </a:extLst>
          </p:cNvPr>
          <p:cNvSpPr/>
          <p:nvPr/>
        </p:nvSpPr>
        <p:spPr>
          <a:xfrm>
            <a:off x="2047991" y="5366261"/>
            <a:ext cx="14867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/>
              <a:t>Nationale vækstfond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C33E226-8834-460B-845A-6F239AC201E9}"/>
              </a:ext>
            </a:extLst>
          </p:cNvPr>
          <p:cNvSpPr/>
          <p:nvPr/>
        </p:nvSpPr>
        <p:spPr>
          <a:xfrm>
            <a:off x="1624650" y="5366261"/>
            <a:ext cx="33995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700"/>
              <a:t>1</a:t>
            </a:r>
          </a:p>
        </p:txBody>
      </p:sp>
      <p:sp>
        <p:nvSpPr>
          <p:cNvPr id="51" name="Title 4">
            <a:extLst>
              <a:ext uri="{FF2B5EF4-FFF2-40B4-BE49-F238E27FC236}">
                <a16:creationId xmlns:a16="http://schemas.microsoft.com/office/drawing/2014/main" id="{BEC5D264-EB40-4DAA-9655-E2078E7138D4}"/>
              </a:ext>
            </a:extLst>
          </p:cNvPr>
          <p:cNvSpPr txBox="1">
            <a:spLocks/>
          </p:cNvSpPr>
          <p:nvPr/>
        </p:nvSpPr>
        <p:spPr>
          <a:xfrm>
            <a:off x="358775" y="39103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… og den sidste løsningsmodel er koordineret offentligt-privat samarbejd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5FF56E0-16BE-45FE-8028-36BE80FB74B4}"/>
              </a:ext>
            </a:extLst>
          </p:cNvPr>
          <p:cNvSpPr/>
          <p:nvPr/>
        </p:nvSpPr>
        <p:spPr>
          <a:xfrm>
            <a:off x="5238022" y="5366261"/>
            <a:ext cx="14867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/>
              <a:t>En fælles indga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200BF50-2442-419F-9C4E-7CE946B72874}"/>
              </a:ext>
            </a:extLst>
          </p:cNvPr>
          <p:cNvSpPr/>
          <p:nvPr/>
        </p:nvSpPr>
        <p:spPr>
          <a:xfrm>
            <a:off x="4898070" y="5366260"/>
            <a:ext cx="33995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700"/>
              <a:t>2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056EA64-04FB-4CA5-860A-3A607FB05BDE}"/>
              </a:ext>
            </a:extLst>
          </p:cNvPr>
          <p:cNvGrpSpPr/>
          <p:nvPr/>
        </p:nvGrpSpPr>
        <p:grpSpPr>
          <a:xfrm>
            <a:off x="4964990" y="2829974"/>
            <a:ext cx="1533600" cy="1533600"/>
            <a:chOff x="4432402" y="1298813"/>
            <a:chExt cx="864606" cy="792452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33626AE-6F3B-4C81-BA85-73886B4D61A6}"/>
                </a:ext>
              </a:extLst>
            </p:cNvPr>
            <p:cNvSpPr/>
            <p:nvPr/>
          </p:nvSpPr>
          <p:spPr>
            <a:xfrm>
              <a:off x="4432402" y="1298813"/>
              <a:ext cx="864606" cy="792452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noProof="0"/>
            </a:p>
          </p:txBody>
        </p:sp>
        <p:pic>
          <p:nvPicPr>
            <p:cNvPr id="24" name="Graphic 23" descr="Door Open with solid fill">
              <a:extLst>
                <a:ext uri="{FF2B5EF4-FFF2-40B4-BE49-F238E27FC236}">
                  <a16:creationId xmlns:a16="http://schemas.microsoft.com/office/drawing/2014/main" id="{9A19CFF9-24F3-4AA4-9A09-3D0A52C9DB0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599562" y="1429238"/>
              <a:ext cx="502509" cy="502509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7092251-049A-4046-86DE-7448EA5C3E80}"/>
              </a:ext>
            </a:extLst>
          </p:cNvPr>
          <p:cNvGrpSpPr/>
          <p:nvPr/>
        </p:nvGrpSpPr>
        <p:grpSpPr>
          <a:xfrm>
            <a:off x="7863200" y="2829974"/>
            <a:ext cx="1533600" cy="1533600"/>
            <a:chOff x="7267725" y="1299406"/>
            <a:chExt cx="960282" cy="870772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C5B7B0EE-B78F-427C-B3D5-2D02BCCBEFBF}"/>
                </a:ext>
              </a:extLst>
            </p:cNvPr>
            <p:cNvSpPr/>
            <p:nvPr/>
          </p:nvSpPr>
          <p:spPr>
            <a:xfrm>
              <a:off x="7267725" y="1299406"/>
              <a:ext cx="960282" cy="870772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noProof="0"/>
            </a:p>
          </p:txBody>
        </p:sp>
        <p:pic>
          <p:nvPicPr>
            <p:cNvPr id="27" name="Graphic 26" descr="Euro with solid fill">
              <a:extLst>
                <a:ext uri="{FF2B5EF4-FFF2-40B4-BE49-F238E27FC236}">
                  <a16:creationId xmlns:a16="http://schemas.microsoft.com/office/drawing/2014/main" id="{5B3DC925-8AFD-429E-84C7-682FC02374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443936" y="1461801"/>
              <a:ext cx="560259" cy="560259"/>
            </a:xfrm>
            <a:prstGeom prst="rect">
              <a:avLst/>
            </a:prstGeom>
          </p:spPr>
        </p:pic>
      </p:grpSp>
      <p:sp>
        <p:nvSpPr>
          <p:cNvPr id="9" name="Arc 8"/>
          <p:cNvSpPr/>
          <p:nvPr/>
        </p:nvSpPr>
        <p:spPr>
          <a:xfrm>
            <a:off x="7163521" y="2310417"/>
            <a:ext cx="2880000" cy="2880000"/>
          </a:xfrm>
          <a:prstGeom prst="arc">
            <a:avLst>
              <a:gd name="adj1" fmla="val 10766207"/>
              <a:gd name="adj2" fmla="val 0"/>
            </a:avLst>
          </a:prstGeom>
          <a:noFill/>
          <a:ln w="69850">
            <a:solidFill>
              <a:schemeClr val="accent3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6DE56F2-A4F7-46A7-B6C3-172AE21AC75A}"/>
              </a:ext>
            </a:extLst>
          </p:cNvPr>
          <p:cNvSpPr/>
          <p:nvPr/>
        </p:nvSpPr>
        <p:spPr>
          <a:xfrm>
            <a:off x="8015406" y="5340642"/>
            <a:ext cx="19725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 dirty="0"/>
              <a:t>Koordineret offentligt-privat samarbejde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2C9939E-83B2-483C-AF98-C3E486B5B379}"/>
              </a:ext>
            </a:extLst>
          </p:cNvPr>
          <p:cNvSpPr/>
          <p:nvPr/>
        </p:nvSpPr>
        <p:spPr>
          <a:xfrm>
            <a:off x="7693224" y="5366259"/>
            <a:ext cx="33995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70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75189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4967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A7D1653-D57A-4E5B-AF84-EBFC63AF28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5759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3" imgH="463" progId="TCLayout.ActiveDocument.1">
                  <p:embed/>
                </p:oleObj>
              </mc:Choice>
              <mc:Fallback>
                <p:oleObj name="think-cell Slide" r:id="rId4" imgW="463" imgH="46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A7D1653-D57A-4E5B-AF84-EBFC63AF2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AC44A63-3A64-4A0D-8EA8-608DC951C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1. Kvalificering</a:t>
            </a:r>
            <a:endParaRPr lang="da-DK">
              <a:highlight>
                <a:srgbClr val="FFFF00"/>
              </a:highlight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D7B72B5-6613-4CCC-91DF-4F2DA4322FCC}"/>
              </a:ext>
            </a:extLst>
          </p:cNvPr>
          <p:cNvGrpSpPr/>
          <p:nvPr/>
        </p:nvGrpSpPr>
        <p:grpSpPr>
          <a:xfrm>
            <a:off x="648893" y="1201065"/>
            <a:ext cx="3570124" cy="4729835"/>
            <a:chOff x="217801" y="1201065"/>
            <a:chExt cx="3570124" cy="472983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91C7A20-5BAE-40B3-B3D0-C46765B001B6}"/>
                </a:ext>
              </a:extLst>
            </p:cNvPr>
            <p:cNvSpPr/>
            <p:nvPr/>
          </p:nvSpPr>
          <p:spPr>
            <a:xfrm>
              <a:off x="217802" y="1201065"/>
              <a:ext cx="3570123" cy="472983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1467591-06DA-457B-9660-0B94CA599A72}"/>
                </a:ext>
              </a:extLst>
            </p:cNvPr>
            <p:cNvSpPr/>
            <p:nvPr/>
          </p:nvSpPr>
          <p:spPr>
            <a:xfrm>
              <a:off x="217801" y="1201065"/>
              <a:ext cx="3570123" cy="1600260"/>
            </a:xfrm>
            <a:prstGeom prst="rect">
              <a:avLst/>
            </a:prstGeom>
            <a:solidFill>
              <a:srgbClr val="05326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" name="Content Placeholder 2">
              <a:extLst>
                <a:ext uri="{FF2B5EF4-FFF2-40B4-BE49-F238E27FC236}">
                  <a16:creationId xmlns:a16="http://schemas.microsoft.com/office/drawing/2014/main" id="{12059E61-11FE-40C8-B2AB-4877B0429C0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67445" y="3008468"/>
              <a:ext cx="3003503" cy="152852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251950" indent="-25195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Verdana" pitchFamily="34" charset="0"/>
                <a:buChar char="•"/>
                <a:defRPr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Verdana" pitchFamily="34" charset="0"/>
                </a:defRPr>
              </a:lvl1pPr>
              <a:lvl2pPr marL="647870" indent="-25195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Verdana" pitchFamily="34" charset="0"/>
                <a:buChar char="•"/>
                <a:defRPr sz="1600"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2pPr>
              <a:lvl3pPr marL="979004" indent="-25195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Verdana" pitchFamily="34" charset="0"/>
                <a:buChar char="•"/>
                <a:defRPr sz="1400"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3pPr>
              <a:lvl4pPr marL="0" indent="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  <a:defRPr sz="1800"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4pPr>
              <a:lvl5pPr marL="0" indent="0" algn="l" defTabSz="457098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  <a:defRPr sz="4799" b="1" kern="1200" cap="all" spc="-10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5pPr>
              <a:lvl6pPr marL="0" indent="0" algn="l" defTabSz="457098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1800" b="1" kern="1200" cap="all" spc="-5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457098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  <a:defRPr sz="1800" i="0" kern="1200" spc="-5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7pPr>
              <a:lvl8pPr marL="647870" indent="-251950" algn="l" defTabSz="457098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+mj-lt"/>
                <a:buAutoNum type="arabicPeriod"/>
                <a:defRPr sz="1600" kern="1200" spc="-5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47870" indent="-251950" algn="l" defTabSz="457098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+mj-lt"/>
                <a:buAutoNum type="alphaUcPeriod"/>
                <a:defRPr sz="1600" kern="1200" spc="-5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0"/>
                </a:spcAft>
                <a:buFontTx/>
                <a:buChar char="-"/>
              </a:pPr>
              <a:r>
                <a:rPr lang="da-DK" sz="1400" dirty="0">
                  <a:solidFill>
                    <a:schemeClr val="tx1">
                      <a:lumMod val="50000"/>
                    </a:schemeClr>
                  </a:solidFill>
                </a:rPr>
                <a:t>GTS-institutter</a:t>
              </a:r>
            </a:p>
            <a:p>
              <a:pPr>
                <a:spcAft>
                  <a:spcPts val="0"/>
                </a:spcAft>
                <a:buFontTx/>
                <a:buChar char="-"/>
              </a:pPr>
              <a:r>
                <a:rPr lang="da-DK" sz="1400" dirty="0">
                  <a:solidFill>
                    <a:schemeClr val="tx1">
                      <a:lumMod val="50000"/>
                    </a:schemeClr>
                  </a:solidFill>
                </a:rPr>
                <a:t>Danske Universiteter </a:t>
              </a:r>
            </a:p>
            <a:p>
              <a:pPr>
                <a:spcAft>
                  <a:spcPts val="0"/>
                </a:spcAft>
                <a:buFontTx/>
                <a:buChar char="-"/>
              </a:pPr>
              <a:r>
                <a:rPr lang="da-DK" sz="1400" dirty="0">
                  <a:solidFill>
                    <a:schemeClr val="tx1">
                      <a:lumMod val="50000"/>
                    </a:schemeClr>
                  </a:solidFill>
                </a:rPr>
                <a:t>Dansk Fjernvarme</a:t>
              </a:r>
            </a:p>
            <a:p>
              <a:pPr>
                <a:spcAft>
                  <a:spcPts val="0"/>
                </a:spcAft>
                <a:buFontTx/>
                <a:buChar char="-"/>
              </a:pPr>
              <a:r>
                <a:rPr lang="da-DK" sz="1400" dirty="0">
                  <a:solidFill>
                    <a:schemeClr val="tx1">
                      <a:lumMod val="50000"/>
                    </a:schemeClr>
                  </a:solidFill>
                </a:rPr>
                <a:t>Dansk Affaldsforening </a:t>
              </a:r>
            </a:p>
            <a:p>
              <a:pPr>
                <a:spcAft>
                  <a:spcPts val="0"/>
                </a:spcAft>
                <a:buFontTx/>
                <a:buChar char="-"/>
              </a:pPr>
              <a:r>
                <a:rPr lang="da-DK" sz="1400" dirty="0">
                  <a:solidFill>
                    <a:schemeClr val="tx1">
                      <a:lumMod val="50000"/>
                    </a:schemeClr>
                  </a:solidFill>
                </a:rPr>
                <a:t>Kommunernes Landsforening</a:t>
              </a:r>
            </a:p>
            <a:p>
              <a:pPr>
                <a:spcAft>
                  <a:spcPts val="0"/>
                </a:spcAft>
                <a:buFontTx/>
                <a:buChar char="-"/>
              </a:pPr>
              <a:r>
                <a:rPr lang="da-DK" sz="1400" dirty="0">
                  <a:solidFill>
                    <a:schemeClr val="tx1">
                      <a:lumMod val="50000"/>
                    </a:schemeClr>
                  </a:solidFill>
                </a:rPr>
                <a:t>Danske Vandværker</a:t>
              </a:r>
            </a:p>
            <a:p>
              <a:pPr>
                <a:spcAft>
                  <a:spcPts val="0"/>
                </a:spcAft>
                <a:buFontTx/>
                <a:buChar char="-"/>
              </a:pPr>
              <a:r>
                <a:rPr lang="da-DK" sz="1400" dirty="0" err="1">
                  <a:solidFill>
                    <a:schemeClr val="tx1">
                      <a:lumMod val="50000"/>
                    </a:schemeClr>
                  </a:solidFill>
                </a:rPr>
                <a:t>Danva</a:t>
              </a:r>
              <a:endParaRPr lang="da-DK" sz="1400" dirty="0">
                <a:solidFill>
                  <a:schemeClr val="tx1">
                    <a:lumMod val="50000"/>
                  </a:schemeClr>
                </a:solidFill>
              </a:endParaRPr>
            </a:p>
            <a:p>
              <a:pPr>
                <a:spcAft>
                  <a:spcPts val="0"/>
                </a:spcAft>
                <a:buFontTx/>
                <a:buChar char="-"/>
              </a:pPr>
              <a:r>
                <a:rPr lang="da-DK" sz="1400" dirty="0">
                  <a:solidFill>
                    <a:schemeClr val="tx1">
                      <a:lumMod val="50000"/>
                    </a:schemeClr>
                  </a:solidFill>
                </a:rPr>
                <a:t>Innovationsfonden </a:t>
              </a:r>
            </a:p>
            <a:p>
              <a:pPr>
                <a:spcAft>
                  <a:spcPts val="0"/>
                </a:spcAft>
                <a:buFontTx/>
                <a:buChar char="-"/>
              </a:pPr>
              <a:r>
                <a:rPr lang="da-DK" sz="1400" dirty="0">
                  <a:solidFill>
                    <a:schemeClr val="tx1">
                      <a:lumMod val="50000"/>
                    </a:schemeClr>
                  </a:solidFill>
                </a:rPr>
                <a:t>Cluster Excellence Denmark</a:t>
              </a:r>
            </a:p>
            <a:p>
              <a:pPr>
                <a:spcAft>
                  <a:spcPts val="0"/>
                </a:spcAft>
                <a:buFontTx/>
                <a:buChar char="-"/>
              </a:pPr>
              <a:endParaRPr lang="da-DK" sz="1400" dirty="0"/>
            </a:p>
            <a:p>
              <a:pPr marL="0" indent="0">
                <a:spcAft>
                  <a:spcPts val="0"/>
                </a:spcAft>
                <a:buNone/>
              </a:pPr>
              <a:br>
                <a:rPr lang="da-DK" sz="1400" dirty="0"/>
              </a:br>
              <a:endParaRPr lang="da-DK" sz="1400" dirty="0"/>
            </a:p>
            <a:p>
              <a:pPr lvl="2"/>
              <a:endParaRPr lang="da-DK" sz="1100" dirty="0"/>
            </a:p>
            <a:p>
              <a:pPr lvl="2"/>
              <a:endParaRPr lang="da-DK" sz="1100" dirty="0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63F9336-1860-42D1-A9D6-00BFC0F2E4E3}"/>
                </a:ext>
              </a:extLst>
            </p:cNvPr>
            <p:cNvSpPr txBox="1"/>
            <p:nvPr/>
          </p:nvSpPr>
          <p:spPr>
            <a:xfrm>
              <a:off x="217801" y="2141714"/>
              <a:ext cx="3570123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indent="0" algn="ctr">
                <a:buNone/>
              </a:pPr>
              <a:r>
                <a:rPr lang="da-DK" sz="1200" b="1">
                  <a:solidFill>
                    <a:schemeClr val="bg1"/>
                  </a:solidFill>
                </a:rPr>
                <a:t>REFERENCEGRUPPENS </a:t>
              </a:r>
            </a:p>
            <a:p>
              <a:pPr marL="0" indent="0" algn="ctr">
                <a:buNone/>
              </a:pPr>
              <a:r>
                <a:rPr lang="da-DK" sz="1200" b="1">
                  <a:solidFill>
                    <a:schemeClr val="bg1"/>
                  </a:solidFill>
                </a:rPr>
                <a:t>DELTAGERE</a:t>
              </a:r>
            </a:p>
          </p:txBody>
        </p:sp>
        <p:pic>
          <p:nvPicPr>
            <p:cNvPr id="30" name="Graphic 29" descr="Group with solid fill">
              <a:extLst>
                <a:ext uri="{FF2B5EF4-FFF2-40B4-BE49-F238E27FC236}">
                  <a16:creationId xmlns:a16="http://schemas.microsoft.com/office/drawing/2014/main" id="{0D8E8000-AB08-4092-A9FD-EEE7479DDF4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45662" y="1311641"/>
              <a:ext cx="914400" cy="914400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7CD18ED-DCE3-41B5-AFF4-6F8E63B8824F}"/>
              </a:ext>
            </a:extLst>
          </p:cNvPr>
          <p:cNvGrpSpPr/>
          <p:nvPr/>
        </p:nvGrpSpPr>
        <p:grpSpPr>
          <a:xfrm>
            <a:off x="4347406" y="1201065"/>
            <a:ext cx="3570124" cy="4729835"/>
            <a:chOff x="4195006" y="1201065"/>
            <a:chExt cx="3570124" cy="4729835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1335944-5E6F-4C89-8F8A-46BFA1ECEF6A}"/>
                </a:ext>
              </a:extLst>
            </p:cNvPr>
            <p:cNvSpPr/>
            <p:nvPr/>
          </p:nvSpPr>
          <p:spPr>
            <a:xfrm>
              <a:off x="4195007" y="1201065"/>
              <a:ext cx="3570123" cy="472983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B58A6CF-54DA-495A-AF4D-4631149DCBA0}"/>
                </a:ext>
              </a:extLst>
            </p:cNvPr>
            <p:cNvSpPr/>
            <p:nvPr/>
          </p:nvSpPr>
          <p:spPr>
            <a:xfrm>
              <a:off x="4195006" y="1201065"/>
              <a:ext cx="3570123" cy="160026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Content Placeholder 2">
              <a:extLst>
                <a:ext uri="{FF2B5EF4-FFF2-40B4-BE49-F238E27FC236}">
                  <a16:creationId xmlns:a16="http://schemas.microsoft.com/office/drawing/2014/main" id="{AFB0A79D-C1EC-4FA9-B284-6DD992DD023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307871" y="2957062"/>
              <a:ext cx="3309015" cy="22754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251950" indent="-25195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Verdana" pitchFamily="34" charset="0"/>
                <a:buChar char="•"/>
                <a:defRPr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Verdana" pitchFamily="34" charset="0"/>
                </a:defRPr>
              </a:lvl1pPr>
              <a:lvl2pPr marL="647870" indent="-25195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Verdana" pitchFamily="34" charset="0"/>
                <a:buChar char="•"/>
                <a:defRPr sz="1600"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2pPr>
              <a:lvl3pPr marL="979004" indent="-25195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Verdana" pitchFamily="34" charset="0"/>
                <a:buChar char="•"/>
                <a:defRPr sz="1400"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3pPr>
              <a:lvl4pPr marL="0" indent="0" algn="l" defTabSz="457098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  <a:defRPr sz="1800" kern="1200" spc="-5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4pPr>
              <a:lvl5pPr marL="0" indent="0" algn="l" defTabSz="457098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  <a:defRPr sz="4799" b="1" kern="1200" cap="all" spc="-100" baseline="0">
                  <a:solidFill>
                    <a:schemeClr val="tx1"/>
                  </a:solidFill>
                  <a:latin typeface="Verdana"/>
                  <a:ea typeface="Verdana" pitchFamily="34" charset="0"/>
                  <a:cs typeface="+mn-cs"/>
                </a:defRPr>
              </a:lvl5pPr>
              <a:lvl6pPr marL="0" indent="0" algn="l" defTabSz="457098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sz="1800" b="1" kern="1200" cap="all" spc="-5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457098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 panose="020B0604020202020204" pitchFamily="34" charset="0"/>
                <a:buChar char="​"/>
                <a:defRPr sz="1800" i="0" kern="1200" spc="-5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7pPr>
              <a:lvl8pPr marL="647870" indent="-251950" algn="l" defTabSz="457098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+mj-lt"/>
                <a:buAutoNum type="arabicPeriod"/>
                <a:defRPr sz="1600" kern="1200" spc="-5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47870" indent="-251950" algn="l" defTabSz="457098" rtl="0" eaLnBrk="1" latinLnBrk="0" hangingPunct="1"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+mj-lt"/>
                <a:buAutoNum type="alphaUcPeriod"/>
                <a:defRPr sz="1600" kern="1200" spc="-5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Aft>
                  <a:spcPts val="0"/>
                </a:spcAft>
                <a:buNone/>
              </a:pPr>
              <a:endParaRPr lang="da-DK" sz="1400" dirty="0"/>
            </a:p>
            <a:p>
              <a:pPr marL="0" indent="0">
                <a:spcAft>
                  <a:spcPts val="0"/>
                </a:spcAft>
                <a:buNone/>
              </a:pPr>
              <a:br>
                <a:rPr lang="da-DK" sz="1400" dirty="0"/>
              </a:br>
              <a:r>
                <a:rPr lang="da-DK" sz="1400" i="1" dirty="0"/>
                <a:t>Et fysisk eller virtuelt miljø, hvor brugere fra fx virksomheder, universiteter og offentlige selskaber kan udføre eller få udført test, demonstration og/eller udvikling af nye produkter, services, processer eller organisatoriske løsninger. </a:t>
              </a:r>
            </a:p>
            <a:p>
              <a:pPr marL="0" indent="0">
                <a:spcAft>
                  <a:spcPts val="0"/>
                </a:spcAft>
                <a:buNone/>
              </a:pPr>
              <a:r>
                <a:rPr lang="da-DK" sz="1400" i="1" dirty="0"/>
                <a:t>Herunder skal faciliteten have en etableret forretningsmodel og/eller service tilknyttet samt kunne tilgås efter aftale.</a:t>
              </a:r>
            </a:p>
            <a:p>
              <a:pPr marL="0" indent="0">
                <a:spcAft>
                  <a:spcPts val="0"/>
                </a:spcAft>
                <a:buNone/>
              </a:pPr>
              <a:endParaRPr lang="da-DK" sz="1400" dirty="0"/>
            </a:p>
            <a:p>
              <a:pPr marL="0" indent="0">
                <a:spcAft>
                  <a:spcPts val="0"/>
                </a:spcAft>
                <a:buNone/>
              </a:pPr>
              <a:endParaRPr lang="da-DK" sz="1400" dirty="0"/>
            </a:p>
            <a:p>
              <a:pPr marL="0" indent="0">
                <a:spcAft>
                  <a:spcPts val="0"/>
                </a:spcAft>
                <a:buNone/>
              </a:pPr>
              <a:endParaRPr lang="da-DK" sz="1400" dirty="0"/>
            </a:p>
            <a:p>
              <a:pPr marL="0" indent="0">
                <a:spcAft>
                  <a:spcPts val="0"/>
                </a:spcAft>
                <a:buNone/>
              </a:pPr>
              <a:endParaRPr lang="da-DK" sz="1400" dirty="0"/>
            </a:p>
            <a:p>
              <a:pPr lvl="2"/>
              <a:endParaRPr lang="da-DK" sz="1100" dirty="0"/>
            </a:p>
            <a:p>
              <a:pPr lvl="2"/>
              <a:endParaRPr lang="da-DK" sz="1100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B319007-F627-4FD6-A16D-9B9FDEBCF6DD}"/>
                </a:ext>
              </a:extLst>
            </p:cNvPr>
            <p:cNvSpPr txBox="1"/>
            <p:nvPr/>
          </p:nvSpPr>
          <p:spPr>
            <a:xfrm>
              <a:off x="4211497" y="2146335"/>
              <a:ext cx="3553631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indent="0" algn="ctr">
                <a:spcAft>
                  <a:spcPts val="0"/>
                </a:spcAft>
                <a:buNone/>
              </a:pPr>
              <a:r>
                <a:rPr lang="da-DK" sz="1200" b="1">
                  <a:solidFill>
                    <a:schemeClr val="bg1"/>
                  </a:solidFill>
                </a:rPr>
                <a:t>DEFINITION PÅ TEST-, UDVIKLINGS- OG DEMONSTRATIONSFACILITETE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A6E210F-E061-45CC-8CBB-7CAADBF457EB}"/>
                </a:ext>
              </a:extLst>
            </p:cNvPr>
            <p:cNvSpPr txBox="1"/>
            <p:nvPr/>
          </p:nvSpPr>
          <p:spPr bwMode="auto">
            <a:xfrm>
              <a:off x="4444305" y="2775554"/>
              <a:ext cx="3089891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r>
                <a:rPr lang="da-DK" sz="6000" b="1"/>
                <a:t>”</a:t>
              </a:r>
              <a:endParaRPr lang="en-GB" sz="600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0D68D93-C5E0-4E94-98E6-7506117178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08456" y="1334219"/>
              <a:ext cx="869245" cy="869245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B38C56B-7159-4FD8-91AC-7505614261AE}"/>
              </a:ext>
            </a:extLst>
          </p:cNvPr>
          <p:cNvGrpSpPr/>
          <p:nvPr/>
        </p:nvGrpSpPr>
        <p:grpSpPr>
          <a:xfrm>
            <a:off x="8025186" y="1201065"/>
            <a:ext cx="3570125" cy="4729835"/>
            <a:chOff x="8144728" y="1201065"/>
            <a:chExt cx="3570125" cy="472983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EB62F80-FCFA-407B-A360-A0B411DE1BB3}"/>
                </a:ext>
              </a:extLst>
            </p:cNvPr>
            <p:cNvSpPr/>
            <p:nvPr/>
          </p:nvSpPr>
          <p:spPr>
            <a:xfrm>
              <a:off x="8144730" y="1201065"/>
              <a:ext cx="3570123" cy="472983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6BC5C99-B574-4D1F-9735-4290990D2D16}"/>
                </a:ext>
              </a:extLst>
            </p:cNvPr>
            <p:cNvSpPr/>
            <p:nvPr/>
          </p:nvSpPr>
          <p:spPr>
            <a:xfrm>
              <a:off x="8144729" y="1201065"/>
              <a:ext cx="3570123" cy="1600260"/>
            </a:xfrm>
            <a:prstGeom prst="rect">
              <a:avLst/>
            </a:prstGeom>
            <a:solidFill>
              <a:srgbClr val="125A4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125A40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6E377DC-6195-4101-9B96-11F9DE2193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51103"/>
            <a:stretch/>
          </p:blipFill>
          <p:spPr>
            <a:xfrm>
              <a:off x="9664346" y="4735089"/>
              <a:ext cx="1794605" cy="504416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6641CE15-745A-4674-9979-39A476D3C1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50778"/>
            <a:stretch/>
          </p:blipFill>
          <p:spPr>
            <a:xfrm>
              <a:off x="9664346" y="5321640"/>
              <a:ext cx="1796440" cy="501596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6803A2E0-C30D-42DB-8A40-88D6F47E0A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129" t="1786" r="2679" b="2336"/>
            <a:stretch/>
          </p:blipFill>
          <p:spPr>
            <a:xfrm>
              <a:off x="8385984" y="2887577"/>
              <a:ext cx="1797523" cy="1739849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463B995-3AB6-4D29-9BD1-14F23E128A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96649" y="1238464"/>
              <a:ext cx="965000" cy="965000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61E92EB-65AF-4D96-84F7-DD7A974270B3}"/>
                </a:ext>
              </a:extLst>
            </p:cNvPr>
            <p:cNvSpPr txBox="1"/>
            <p:nvPr/>
          </p:nvSpPr>
          <p:spPr>
            <a:xfrm>
              <a:off x="8144728" y="2140303"/>
              <a:ext cx="3570124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indent="0" algn="ctr">
                <a:spcAft>
                  <a:spcPts val="0"/>
                </a:spcAft>
                <a:buNone/>
              </a:pPr>
              <a:r>
                <a:rPr lang="da-DK" sz="1200" b="1">
                  <a:solidFill>
                    <a:schemeClr val="bg1"/>
                  </a:solidFill>
                </a:rPr>
                <a:t>INDSAMLING AF OPLYSNINGER OM HVER FACILITET</a:t>
              </a:r>
              <a:endParaRPr lang="da-DK" sz="12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7421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148745E-8C7D-4DD9-88C5-1F3047615EA8}"/>
              </a:ext>
            </a:extLst>
          </p:cNvPr>
          <p:cNvCxnSpPr>
            <a:cxnSpLocks/>
          </p:cNvCxnSpPr>
          <p:nvPr/>
        </p:nvCxnSpPr>
        <p:spPr>
          <a:xfrm>
            <a:off x="9170229" y="5086082"/>
            <a:ext cx="2167975" cy="306487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B6C32A6-C6F0-4C72-B913-069708730B6A}"/>
              </a:ext>
            </a:extLst>
          </p:cNvPr>
          <p:cNvCxnSpPr>
            <a:cxnSpLocks/>
          </p:cNvCxnSpPr>
          <p:nvPr/>
        </p:nvCxnSpPr>
        <p:spPr>
          <a:xfrm>
            <a:off x="9170229" y="5086759"/>
            <a:ext cx="591892" cy="337200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AE85FAF3-5DA8-4526-B149-2A64B254E347}"/>
              </a:ext>
            </a:extLst>
          </p:cNvPr>
          <p:cNvCxnSpPr>
            <a:cxnSpLocks/>
          </p:cNvCxnSpPr>
          <p:nvPr/>
        </p:nvCxnSpPr>
        <p:spPr>
          <a:xfrm flipH="1">
            <a:off x="8576096" y="5086759"/>
            <a:ext cx="591892" cy="337200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2C18CF0E-8CB7-45F4-9331-CAA69B0E5F73}"/>
              </a:ext>
            </a:extLst>
          </p:cNvPr>
          <p:cNvCxnSpPr>
            <a:cxnSpLocks/>
          </p:cNvCxnSpPr>
          <p:nvPr/>
        </p:nvCxnSpPr>
        <p:spPr>
          <a:xfrm flipH="1">
            <a:off x="7001133" y="5089152"/>
            <a:ext cx="2167975" cy="306487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B84D8C95-8C2E-4978-91C7-7AF4004EFD5B}"/>
              </a:ext>
            </a:extLst>
          </p:cNvPr>
          <p:cNvCxnSpPr>
            <a:cxnSpLocks/>
          </p:cNvCxnSpPr>
          <p:nvPr/>
        </p:nvCxnSpPr>
        <p:spPr>
          <a:xfrm>
            <a:off x="9167988" y="5089152"/>
            <a:ext cx="1214730" cy="334807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0445C018-8CCC-4339-BAD8-450BB6A4610C}"/>
              </a:ext>
            </a:extLst>
          </p:cNvPr>
          <p:cNvCxnSpPr>
            <a:cxnSpLocks/>
          </p:cNvCxnSpPr>
          <p:nvPr/>
        </p:nvCxnSpPr>
        <p:spPr>
          <a:xfrm flipH="1">
            <a:off x="7952137" y="5087955"/>
            <a:ext cx="1214730" cy="334807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78D8BF06-EA54-4882-8C0A-748DC1671DFD}"/>
              </a:ext>
            </a:extLst>
          </p:cNvPr>
          <p:cNvCxnSpPr>
            <a:cxnSpLocks/>
          </p:cNvCxnSpPr>
          <p:nvPr/>
        </p:nvCxnSpPr>
        <p:spPr>
          <a:xfrm>
            <a:off x="9166867" y="5083713"/>
            <a:ext cx="319772" cy="376522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F036C2FF-1215-4058-B4DC-016C1C480BC7}"/>
              </a:ext>
            </a:extLst>
          </p:cNvPr>
          <p:cNvCxnSpPr>
            <a:cxnSpLocks/>
          </p:cNvCxnSpPr>
          <p:nvPr/>
        </p:nvCxnSpPr>
        <p:spPr>
          <a:xfrm flipH="1">
            <a:off x="8859065" y="5086082"/>
            <a:ext cx="319772" cy="376522"/>
          </a:xfrm>
          <a:prstGeom prst="line">
            <a:avLst/>
          </a:prstGeom>
          <a:ln w="952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C7C0AFC-81D3-493C-AB64-D9FEE0DF767A}"/>
              </a:ext>
            </a:extLst>
          </p:cNvPr>
          <p:cNvGrpSpPr/>
          <p:nvPr/>
        </p:nvGrpSpPr>
        <p:grpSpPr>
          <a:xfrm>
            <a:off x="6506424" y="1784512"/>
            <a:ext cx="5285926" cy="3308608"/>
            <a:chOff x="6500071" y="1904741"/>
            <a:chExt cx="5285926" cy="330860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51D47B9-0593-4CCF-AC59-EB157A5B23B9}"/>
                </a:ext>
              </a:extLst>
            </p:cNvPr>
            <p:cNvSpPr/>
            <p:nvPr/>
          </p:nvSpPr>
          <p:spPr>
            <a:xfrm>
              <a:off x="8521700" y="1904741"/>
              <a:ext cx="3264297" cy="1117356"/>
            </a:xfrm>
            <a:prstGeom prst="rect">
              <a:avLst/>
            </a:prstGeom>
            <a:solidFill>
              <a:srgbClr val="45454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46EF28E-1F4F-485B-9625-9A93D37EA059}"/>
                </a:ext>
              </a:extLst>
            </p:cNvPr>
            <p:cNvSpPr/>
            <p:nvPr/>
          </p:nvSpPr>
          <p:spPr>
            <a:xfrm>
              <a:off x="7454899" y="3000367"/>
              <a:ext cx="4331097" cy="1117356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A0E3312-EEA2-4FB0-B77D-9F74557C0190}"/>
                </a:ext>
              </a:extLst>
            </p:cNvPr>
            <p:cNvSpPr/>
            <p:nvPr/>
          </p:nvSpPr>
          <p:spPr>
            <a:xfrm>
              <a:off x="6500071" y="4095993"/>
              <a:ext cx="5285926" cy="1117356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BE3548D-4CF1-4881-BF4D-B7DC3B197387}"/>
                </a:ext>
              </a:extLst>
            </p:cNvPr>
            <p:cNvSpPr txBox="1"/>
            <p:nvPr/>
          </p:nvSpPr>
          <p:spPr bwMode="auto">
            <a:xfrm>
              <a:off x="8521699" y="2201810"/>
              <a:ext cx="2567215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/>
              <a:r>
                <a:rPr lang="da-DK" b="1">
                  <a:solidFill>
                    <a:schemeClr val="bg1"/>
                  </a:solidFill>
                </a:rPr>
                <a:t>Arbejdsgruppen</a:t>
              </a:r>
              <a:endParaRPr lang="en-GB" b="1">
                <a:solidFill>
                  <a:schemeClr val="bg1"/>
                </a:solidFill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ACC6EA2F-84F0-4294-A761-FBE8651E11EE}"/>
                </a:ext>
              </a:extLst>
            </p:cNvPr>
            <p:cNvSpPr/>
            <p:nvPr/>
          </p:nvSpPr>
          <p:spPr>
            <a:xfrm rot="10800000">
              <a:off x="11088914" y="2995490"/>
              <a:ext cx="584952" cy="260090"/>
            </a:xfrm>
            <a:prstGeom prst="triangle">
              <a:avLst/>
            </a:prstGeom>
            <a:solidFill>
              <a:srgbClr val="45454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313D89BE-FF4B-449C-A7F7-22BE8E195960}"/>
                </a:ext>
              </a:extLst>
            </p:cNvPr>
            <p:cNvSpPr/>
            <p:nvPr/>
          </p:nvSpPr>
          <p:spPr>
            <a:xfrm rot="10800000">
              <a:off x="11088913" y="4082639"/>
              <a:ext cx="584952" cy="288671"/>
            </a:xfrm>
            <a:prstGeom prst="triangle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B04FB8D-2329-4F3E-9E41-A979B25E5670}"/>
                </a:ext>
              </a:extLst>
            </p:cNvPr>
            <p:cNvSpPr txBox="1"/>
            <p:nvPr/>
          </p:nvSpPr>
          <p:spPr bwMode="auto">
            <a:xfrm>
              <a:off x="7454898" y="3417612"/>
              <a:ext cx="309741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/>
              <a:r>
                <a:rPr lang="da-DK" b="1" err="1">
                  <a:solidFill>
                    <a:schemeClr val="bg1"/>
                  </a:solidFill>
                </a:rPr>
                <a:t>Reference-gruppen</a:t>
              </a:r>
              <a:endParaRPr lang="en-GB" b="1">
                <a:solidFill>
                  <a:schemeClr val="bg1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3D89752-9B97-4E8B-9C42-DCE34C48994C}"/>
                </a:ext>
              </a:extLst>
            </p:cNvPr>
            <p:cNvSpPr txBox="1"/>
            <p:nvPr/>
          </p:nvSpPr>
          <p:spPr bwMode="auto">
            <a:xfrm>
              <a:off x="6500071" y="4448677"/>
              <a:ext cx="260854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/>
              <a:r>
                <a:rPr lang="da-DK" b="1">
                  <a:solidFill>
                    <a:schemeClr val="bg1"/>
                  </a:solidFill>
                </a:rPr>
                <a:t>Nøglepersoner</a:t>
              </a:r>
              <a:endParaRPr lang="en-GB" b="1">
                <a:solidFill>
                  <a:schemeClr val="bg1"/>
                </a:solidFill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48E33746-A447-4F05-B9E9-5777362DBA5E}"/>
              </a:ext>
            </a:extLst>
          </p:cNvPr>
          <p:cNvSpPr/>
          <p:nvPr/>
        </p:nvSpPr>
        <p:spPr>
          <a:xfrm>
            <a:off x="798616" y="1784512"/>
            <a:ext cx="5285925" cy="324806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53CB743-472C-4DF4-8B73-D010AA7A9F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787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63" imgH="463" progId="TCLayout.ActiveDocument.1">
                  <p:embed/>
                </p:oleObj>
              </mc:Choice>
              <mc:Fallback>
                <p:oleObj name="think-cell Slide" r:id="rId4" imgW="463" imgH="46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53CB743-472C-4DF4-8B73-D010AA7A9F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AC44A63-3A64-4A0D-8EA8-608DC951C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2. INDSAMLING AF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B03C0A-49AD-4246-B1AB-A478CCD0DEB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926159" y="1993901"/>
            <a:ext cx="4962237" cy="469749"/>
          </a:xfrm>
        </p:spPr>
        <p:txBody>
          <a:bodyPr/>
          <a:lstStyle/>
          <a:p>
            <a:pPr marL="0" indent="0">
              <a:buNone/>
            </a:pPr>
            <a:r>
              <a:rPr lang="da-DK" sz="1600">
                <a:solidFill>
                  <a:schemeClr val="bg1"/>
                </a:solidFill>
              </a:rPr>
              <a:t>Tre strategier for identifikation af mulige faciliteter: </a:t>
            </a:r>
          </a:p>
          <a:p>
            <a:pPr marL="0" indent="0">
              <a:buNone/>
            </a:pPr>
            <a:r>
              <a:rPr lang="da-DK" sz="1600">
                <a:solidFill>
                  <a:schemeClr val="bg1"/>
                </a:solidFill>
              </a:rPr>
              <a:t>	</a:t>
            </a:r>
            <a:br>
              <a:rPr lang="da-DK" sz="1600"/>
            </a:br>
            <a:endParaRPr lang="da-DK" sz="14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D4731BD-3878-47D2-AE2A-1386AB2B0AB3}"/>
              </a:ext>
            </a:extLst>
          </p:cNvPr>
          <p:cNvSpPr/>
          <p:nvPr/>
        </p:nvSpPr>
        <p:spPr>
          <a:xfrm>
            <a:off x="798617" y="5032581"/>
            <a:ext cx="5285924" cy="7845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DB03DBF-9199-4CF6-B15A-806FA3B24D79}"/>
              </a:ext>
            </a:extLst>
          </p:cNvPr>
          <p:cNvSpPr txBox="1"/>
          <p:nvPr/>
        </p:nvSpPr>
        <p:spPr bwMode="auto">
          <a:xfrm>
            <a:off x="842355" y="5073488"/>
            <a:ext cx="497076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da-DK" sz="1600" dirty="0"/>
              <a:t>Resultat: </a:t>
            </a:r>
            <a:r>
              <a:rPr lang="da-DK" sz="1600" b="1" dirty="0"/>
              <a:t>397</a:t>
            </a:r>
            <a:r>
              <a:rPr lang="da-DK" sz="1600" dirty="0"/>
              <a:t> test-, udviklings- og demonstrationsfacilitet indrapporteret. </a:t>
            </a:r>
            <a:endParaRPr lang="en-GB" sz="16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B3C620E-8A07-449D-B45A-8143B7F9CDB7}"/>
              </a:ext>
            </a:extLst>
          </p:cNvPr>
          <p:cNvSpPr txBox="1"/>
          <p:nvPr/>
        </p:nvSpPr>
        <p:spPr bwMode="auto">
          <a:xfrm>
            <a:off x="842356" y="1211121"/>
            <a:ext cx="417414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a-DK" sz="1600" b="1"/>
              <a:t>Indsamling via spørgeskemaer </a:t>
            </a:r>
          </a:p>
        </p:txBody>
      </p:sp>
      <p:pic>
        <p:nvPicPr>
          <p:cNvPr id="38" name="Graphic 37" descr="Magnifying glass with solid fill">
            <a:extLst>
              <a:ext uri="{FF2B5EF4-FFF2-40B4-BE49-F238E27FC236}">
                <a16:creationId xmlns:a16="http://schemas.microsoft.com/office/drawing/2014/main" id="{C1F63AFD-3774-4AA9-932B-756C7FBE928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6159" y="4214958"/>
            <a:ext cx="373397" cy="373397"/>
          </a:xfrm>
          <a:prstGeom prst="rect">
            <a:avLst/>
          </a:prstGeom>
        </p:spPr>
      </p:pic>
      <p:pic>
        <p:nvPicPr>
          <p:cNvPr id="40" name="Graphic 39" descr="Receiver with solid fill">
            <a:extLst>
              <a:ext uri="{FF2B5EF4-FFF2-40B4-BE49-F238E27FC236}">
                <a16:creationId xmlns:a16="http://schemas.microsoft.com/office/drawing/2014/main" id="{4083117C-E189-46D4-8404-5C1DD009777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3417" y="3300152"/>
            <a:ext cx="373397" cy="373397"/>
          </a:xfrm>
          <a:prstGeom prst="rect">
            <a:avLst/>
          </a:prstGeom>
        </p:spPr>
      </p:pic>
      <p:pic>
        <p:nvPicPr>
          <p:cNvPr id="46" name="Graphic 45" descr="Group of men with solid fill">
            <a:extLst>
              <a:ext uri="{FF2B5EF4-FFF2-40B4-BE49-F238E27FC236}">
                <a16:creationId xmlns:a16="http://schemas.microsoft.com/office/drawing/2014/main" id="{B6AC4473-5D90-40ED-A748-B54614E5A67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13417" y="2482529"/>
            <a:ext cx="373397" cy="373397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508FD7A1-2E3C-4DAB-AE75-60C6EE54A48D}"/>
              </a:ext>
            </a:extLst>
          </p:cNvPr>
          <p:cNvSpPr txBox="1"/>
          <p:nvPr/>
        </p:nvSpPr>
        <p:spPr bwMode="auto">
          <a:xfrm>
            <a:off x="1314607" y="2378100"/>
            <a:ext cx="4573790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a-DK" sz="1600" dirty="0">
                <a:solidFill>
                  <a:schemeClr val="bg1"/>
                </a:solidFill>
              </a:rPr>
              <a:t>Arbejdsgruppen og referencegruppen udpeger nøglepersoner  </a:t>
            </a:r>
          </a:p>
          <a:p>
            <a:pPr marL="0" indent="0">
              <a:buNone/>
            </a:pPr>
            <a:endParaRPr lang="da-DK" sz="16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da-DK" sz="1600" dirty="0">
                <a:solidFill>
                  <a:schemeClr val="bg1"/>
                </a:solidFill>
              </a:rPr>
              <a:t>Kontakt til medlemmer af organisation </a:t>
            </a:r>
            <a:br>
              <a:rPr lang="da-DK" sz="1600" dirty="0">
                <a:solidFill>
                  <a:schemeClr val="bg1"/>
                </a:solidFill>
              </a:rPr>
            </a:br>
            <a:r>
              <a:rPr lang="da-DK" sz="1600" dirty="0">
                <a:solidFill>
                  <a:schemeClr val="bg1"/>
                </a:solidFill>
              </a:rPr>
              <a:t>(fx DI) via nyhedsbreve, direkte mails og nyheder på hjemmesider </a:t>
            </a:r>
          </a:p>
          <a:p>
            <a:pPr marL="0" indent="0">
              <a:buNone/>
            </a:pPr>
            <a:endParaRPr lang="da-DK" sz="16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da-DK" sz="1600" dirty="0">
                <a:solidFill>
                  <a:schemeClr val="bg1"/>
                </a:solidFill>
              </a:rPr>
              <a:t>Søgning i tidligere rapporter og litteratur for identifikation af faciliteter </a:t>
            </a:r>
            <a:endParaRPr lang="da-DK" sz="1400" dirty="0">
              <a:solidFill>
                <a:schemeClr val="bg1"/>
              </a:solidFill>
            </a:endParaRPr>
          </a:p>
        </p:txBody>
      </p:sp>
      <p:pic>
        <p:nvPicPr>
          <p:cNvPr id="62" name="Graphic 61" descr="Man with solid fill">
            <a:extLst>
              <a:ext uri="{FF2B5EF4-FFF2-40B4-BE49-F238E27FC236}">
                <a16:creationId xmlns:a16="http://schemas.microsoft.com/office/drawing/2014/main" id="{25E3DA3C-B2FB-4D75-8C6C-28DCFEDDB9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993565" y="5587317"/>
            <a:ext cx="574935" cy="574935"/>
          </a:xfrm>
          <a:prstGeom prst="rect">
            <a:avLst/>
          </a:prstGeom>
        </p:spPr>
      </p:pic>
      <p:pic>
        <p:nvPicPr>
          <p:cNvPr id="64" name="Graphic 63" descr="Man with solid fill">
            <a:extLst>
              <a:ext uri="{FF2B5EF4-FFF2-40B4-BE49-F238E27FC236}">
                <a16:creationId xmlns:a16="http://schemas.microsoft.com/office/drawing/2014/main" id="{97B56906-A39C-4DCB-B573-DA6266D67ED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259532" y="5465897"/>
            <a:ext cx="701119" cy="701119"/>
          </a:xfrm>
          <a:prstGeom prst="rect">
            <a:avLst/>
          </a:prstGeom>
        </p:spPr>
      </p:pic>
      <p:pic>
        <p:nvPicPr>
          <p:cNvPr id="83" name="Graphic 82" descr="Man with solid fill">
            <a:extLst>
              <a:ext uri="{FF2B5EF4-FFF2-40B4-BE49-F238E27FC236}">
                <a16:creationId xmlns:a16="http://schemas.microsoft.com/office/drawing/2014/main" id="{3C49C894-0BD1-4000-A685-6E1B70158BE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648964" y="5587317"/>
            <a:ext cx="574935" cy="574935"/>
          </a:xfrm>
          <a:prstGeom prst="rect">
            <a:avLst/>
          </a:prstGeom>
        </p:spPr>
      </p:pic>
      <p:pic>
        <p:nvPicPr>
          <p:cNvPr id="84" name="Graphic 83" descr="Man with solid fill">
            <a:extLst>
              <a:ext uri="{FF2B5EF4-FFF2-40B4-BE49-F238E27FC236}">
                <a16:creationId xmlns:a16="http://schemas.microsoft.com/office/drawing/2014/main" id="{1FC8E023-3126-4AC1-8DE9-D7462950C89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914931" y="5465897"/>
            <a:ext cx="701119" cy="701119"/>
          </a:xfrm>
          <a:prstGeom prst="rect">
            <a:avLst/>
          </a:prstGeom>
        </p:spPr>
      </p:pic>
      <p:pic>
        <p:nvPicPr>
          <p:cNvPr id="85" name="Graphic 84" descr="Man with solid fill">
            <a:extLst>
              <a:ext uri="{FF2B5EF4-FFF2-40B4-BE49-F238E27FC236}">
                <a16:creationId xmlns:a16="http://schemas.microsoft.com/office/drawing/2014/main" id="{177C9315-6310-4CA4-9D57-E57983FA801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304363" y="5587317"/>
            <a:ext cx="574935" cy="574935"/>
          </a:xfrm>
          <a:prstGeom prst="rect">
            <a:avLst/>
          </a:prstGeom>
        </p:spPr>
      </p:pic>
      <p:pic>
        <p:nvPicPr>
          <p:cNvPr id="86" name="Graphic 85" descr="Man with solid fill">
            <a:extLst>
              <a:ext uri="{FF2B5EF4-FFF2-40B4-BE49-F238E27FC236}">
                <a16:creationId xmlns:a16="http://schemas.microsoft.com/office/drawing/2014/main" id="{3490D952-4DD9-4182-A80B-7D01C1667F5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570330" y="5465897"/>
            <a:ext cx="701119" cy="701119"/>
          </a:xfrm>
          <a:prstGeom prst="rect">
            <a:avLst/>
          </a:prstGeom>
        </p:spPr>
      </p:pic>
      <p:pic>
        <p:nvPicPr>
          <p:cNvPr id="87" name="Graphic 86" descr="Man with solid fill">
            <a:extLst>
              <a:ext uri="{FF2B5EF4-FFF2-40B4-BE49-F238E27FC236}">
                <a16:creationId xmlns:a16="http://schemas.microsoft.com/office/drawing/2014/main" id="{925FFE83-E72B-43E4-81DA-EC2CA3AC4DC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59762" y="5587317"/>
            <a:ext cx="574935" cy="574935"/>
          </a:xfrm>
          <a:prstGeom prst="rect">
            <a:avLst/>
          </a:prstGeom>
        </p:spPr>
      </p:pic>
      <p:pic>
        <p:nvPicPr>
          <p:cNvPr id="88" name="Graphic 87" descr="Man with solid fill">
            <a:extLst>
              <a:ext uri="{FF2B5EF4-FFF2-40B4-BE49-F238E27FC236}">
                <a16:creationId xmlns:a16="http://schemas.microsoft.com/office/drawing/2014/main" id="{FF46A937-68F6-4B9D-93F2-7DE3BB131D0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225729" y="5465897"/>
            <a:ext cx="701119" cy="701119"/>
          </a:xfrm>
          <a:prstGeom prst="rect">
            <a:avLst/>
          </a:prstGeom>
        </p:spPr>
      </p:pic>
      <p:pic>
        <p:nvPicPr>
          <p:cNvPr id="89" name="Graphic 88" descr="Man with solid fill">
            <a:extLst>
              <a:ext uri="{FF2B5EF4-FFF2-40B4-BE49-F238E27FC236}">
                <a16:creationId xmlns:a16="http://schemas.microsoft.com/office/drawing/2014/main" id="{1B902CB8-674D-4704-9AC6-C00DB55D634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93470" y="5587317"/>
            <a:ext cx="574935" cy="574935"/>
          </a:xfrm>
          <a:prstGeom prst="rect">
            <a:avLst/>
          </a:prstGeom>
        </p:spPr>
      </p:pic>
      <p:pic>
        <p:nvPicPr>
          <p:cNvPr id="90" name="Graphic 89" descr="Man with solid fill">
            <a:extLst>
              <a:ext uri="{FF2B5EF4-FFF2-40B4-BE49-F238E27FC236}">
                <a16:creationId xmlns:a16="http://schemas.microsoft.com/office/drawing/2014/main" id="{48AF2D7B-B213-41ED-833D-1A14668B295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659437" y="5465897"/>
            <a:ext cx="701119" cy="701119"/>
          </a:xfrm>
          <a:prstGeom prst="rect">
            <a:avLst/>
          </a:prstGeom>
        </p:spPr>
      </p:pic>
      <p:pic>
        <p:nvPicPr>
          <p:cNvPr id="91" name="Graphic 90" descr="Man with solid fill">
            <a:extLst>
              <a:ext uri="{FF2B5EF4-FFF2-40B4-BE49-F238E27FC236}">
                <a16:creationId xmlns:a16="http://schemas.microsoft.com/office/drawing/2014/main" id="{D2E0A250-6A63-414F-9F8C-CD1E4BB9AF2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48869" y="5587317"/>
            <a:ext cx="574935" cy="574935"/>
          </a:xfrm>
          <a:prstGeom prst="rect">
            <a:avLst/>
          </a:prstGeom>
        </p:spPr>
      </p:pic>
      <p:pic>
        <p:nvPicPr>
          <p:cNvPr id="92" name="Graphic 91" descr="Man with solid fill">
            <a:extLst>
              <a:ext uri="{FF2B5EF4-FFF2-40B4-BE49-F238E27FC236}">
                <a16:creationId xmlns:a16="http://schemas.microsoft.com/office/drawing/2014/main" id="{45045C50-F5BE-4E44-BC2E-08DE8D0AB1E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314836" y="5465897"/>
            <a:ext cx="701119" cy="701119"/>
          </a:xfrm>
          <a:prstGeom prst="rect">
            <a:avLst/>
          </a:prstGeom>
        </p:spPr>
      </p:pic>
      <p:pic>
        <p:nvPicPr>
          <p:cNvPr id="93" name="Graphic 92" descr="Man with solid fill">
            <a:extLst>
              <a:ext uri="{FF2B5EF4-FFF2-40B4-BE49-F238E27FC236}">
                <a16:creationId xmlns:a16="http://schemas.microsoft.com/office/drawing/2014/main" id="{149BD245-D865-4A32-B12B-706EFFBAABF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04268" y="5587317"/>
            <a:ext cx="574935" cy="574935"/>
          </a:xfrm>
          <a:prstGeom prst="rect">
            <a:avLst/>
          </a:prstGeom>
        </p:spPr>
      </p:pic>
      <p:pic>
        <p:nvPicPr>
          <p:cNvPr id="94" name="Graphic 93" descr="Man with solid fill">
            <a:extLst>
              <a:ext uri="{FF2B5EF4-FFF2-40B4-BE49-F238E27FC236}">
                <a16:creationId xmlns:a16="http://schemas.microsoft.com/office/drawing/2014/main" id="{DABBB2F3-E40E-435F-AF76-A6A958C1983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70235" y="5465897"/>
            <a:ext cx="701119" cy="701119"/>
          </a:xfrm>
          <a:prstGeom prst="rect">
            <a:avLst/>
          </a:prstGeom>
        </p:spPr>
      </p:pic>
      <p:pic>
        <p:nvPicPr>
          <p:cNvPr id="95" name="Graphic 94" descr="Man with solid fill">
            <a:extLst>
              <a:ext uri="{FF2B5EF4-FFF2-40B4-BE49-F238E27FC236}">
                <a16:creationId xmlns:a16="http://schemas.microsoft.com/office/drawing/2014/main" id="{DD590FC5-165A-4D52-B6B9-06A39D1231F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59667" y="5587317"/>
            <a:ext cx="574935" cy="574935"/>
          </a:xfrm>
          <a:prstGeom prst="rect">
            <a:avLst/>
          </a:prstGeom>
        </p:spPr>
      </p:pic>
      <p:pic>
        <p:nvPicPr>
          <p:cNvPr id="96" name="Graphic 95" descr="Man with solid fill">
            <a:extLst>
              <a:ext uri="{FF2B5EF4-FFF2-40B4-BE49-F238E27FC236}">
                <a16:creationId xmlns:a16="http://schemas.microsoft.com/office/drawing/2014/main" id="{BD38F373-C546-42AD-B9BE-013F1493C09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625634" y="5465897"/>
            <a:ext cx="701119" cy="701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978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lede 2">
            <a:extLst>
              <a:ext uri="{FF2B5EF4-FFF2-40B4-BE49-F238E27FC236}">
                <a16:creationId xmlns:a16="http://schemas.microsoft.com/office/drawing/2014/main" id="{173FBEBB-E085-418E-9E87-8610F84F787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6" b="7826"/>
          <a:stretch/>
        </p:blipFill>
        <p:spPr>
          <a:xfrm>
            <a:off x="17108" y="0"/>
            <a:ext cx="12187592" cy="6858000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92B6015-EDAB-4386-A91D-737AA7FEF7AF}"/>
              </a:ext>
            </a:extLst>
          </p:cNvPr>
          <p:cNvSpPr/>
          <p:nvPr/>
        </p:nvSpPr>
        <p:spPr>
          <a:xfrm>
            <a:off x="0" y="0"/>
            <a:ext cx="12214844" cy="6858000"/>
          </a:xfrm>
          <a:prstGeom prst="roundRect">
            <a:avLst>
              <a:gd name="adj" fmla="val 0"/>
            </a:avLst>
          </a:prstGeom>
          <a:solidFill>
            <a:schemeClr val="tx2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9" tIns="45709" rIns="91419" bIns="45709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z="3199" b="1" spc="-50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7" name="Straight Connector 29">
            <a:extLst>
              <a:ext uri="{FF2B5EF4-FFF2-40B4-BE49-F238E27FC236}">
                <a16:creationId xmlns:a16="http://schemas.microsoft.com/office/drawing/2014/main" id="{F5DFE72D-BF3D-4927-95B6-F4FA971A97C4}"/>
              </a:ext>
            </a:extLst>
          </p:cNvPr>
          <p:cNvCxnSpPr/>
          <p:nvPr/>
        </p:nvCxnSpPr>
        <p:spPr>
          <a:xfrm>
            <a:off x="818942" y="945078"/>
            <a:ext cx="105203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FF8FB69B-5BF3-41F6-9367-9BB40DB47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433" y="585836"/>
            <a:ext cx="9924122" cy="359917"/>
          </a:xfrm>
        </p:spPr>
        <p:txBody>
          <a:bodyPr/>
          <a:lstStyle/>
          <a:p>
            <a:r>
              <a:rPr lang="da-DK" sz="2400" b="1" dirty="0">
                <a:solidFill>
                  <a:schemeClr val="bg1"/>
                </a:solidFill>
              </a:rPr>
              <a:t>UDBYDERTYPER</a:t>
            </a:r>
            <a:endParaRPr lang="da-DK" sz="1800" b="1" dirty="0">
              <a:solidFill>
                <a:schemeClr val="bg1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B62DCDD-EE85-4E20-914E-FA4CF3827970}"/>
              </a:ext>
            </a:extLst>
          </p:cNvPr>
          <p:cNvSpPr txBox="1">
            <a:spLocks/>
          </p:cNvSpPr>
          <p:nvPr/>
        </p:nvSpPr>
        <p:spPr>
          <a:xfrm>
            <a:off x="773756" y="250845"/>
            <a:ext cx="10649454" cy="33499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indent="0" algn="r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800" b="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8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anose="020B0604030504040204" pitchFamily="34" charset="0"/>
              <a:buChar char="•"/>
              <a:defRPr sz="1400" kern="1200" spc="-5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1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None/>
            </a:pPr>
            <a:endParaRPr lang="da-DK" sz="1600">
              <a:solidFill>
                <a:schemeClr val="bg2"/>
              </a:solidFill>
            </a:endParaRPr>
          </a:p>
        </p:txBody>
      </p:sp>
      <p:sp>
        <p:nvSpPr>
          <p:cNvPr id="36" name="Slide Number Placeholder 2">
            <a:extLst>
              <a:ext uri="{FF2B5EF4-FFF2-40B4-BE49-F238E27FC236}">
                <a16:creationId xmlns:a16="http://schemas.microsoft.com/office/drawing/2014/main" id="{2FF3AE54-EEAA-4E9C-8396-215BE9FC2CFA}"/>
              </a:ext>
            </a:extLst>
          </p:cNvPr>
          <p:cNvSpPr txBox="1">
            <a:spLocks/>
          </p:cNvSpPr>
          <p:nvPr/>
        </p:nvSpPr>
        <p:spPr bwMode="auto">
          <a:xfrm>
            <a:off x="11542348" y="6279750"/>
            <a:ext cx="479827" cy="156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6789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None/>
              <a:defRPr sz="1600" kern="1200" cap="all" spc="-50" baseline="0">
                <a:solidFill>
                  <a:schemeClr val="bg1">
                    <a:lumMod val="50000"/>
                  </a:schemeClr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4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10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0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421AFA-3AE7-4CEA-BC9B-447859BED57B}" type="slidenum">
              <a:rPr lang="da-DK" sz="900"/>
              <a:pPr/>
              <a:t>5</a:t>
            </a:fld>
            <a:endParaRPr lang="da-DK" sz="9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385DE9-EC25-4734-A029-5E74A9C63D19}"/>
              </a:ext>
            </a:extLst>
          </p:cNvPr>
          <p:cNvSpPr txBox="1"/>
          <p:nvPr/>
        </p:nvSpPr>
        <p:spPr>
          <a:xfrm>
            <a:off x="818942" y="1065597"/>
            <a:ext cx="743571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6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”Hvilken kategori beskriver bedst jeres </a:t>
            </a:r>
            <a:r>
              <a:rPr lang="da-DK" sz="1600" b="1" i="0" u="sng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organisation</a:t>
            </a:r>
            <a:r>
              <a:rPr lang="da-DK" sz="16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?” </a:t>
            </a:r>
            <a:endParaRPr lang="da-DK" sz="16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A998EC-A8FA-4252-801A-039061101778}"/>
              </a:ext>
            </a:extLst>
          </p:cNvPr>
          <p:cNvSpPr txBox="1"/>
          <p:nvPr/>
        </p:nvSpPr>
        <p:spPr>
          <a:xfrm>
            <a:off x="1099595" y="5727578"/>
            <a:ext cx="441146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200" b="1">
                <a:solidFill>
                  <a:schemeClr val="bg1"/>
                </a:solidFill>
              </a:rPr>
              <a:t>* Andet: fonde, styrelse, partnerskabsorganisation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434C2E39-D8DF-403D-925D-A7AEB4129FF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6169935"/>
              </p:ext>
            </p:extLst>
          </p:nvPr>
        </p:nvGraphicFramePr>
        <p:xfrm>
          <a:off x="733707" y="1880906"/>
          <a:ext cx="10605600" cy="338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7081579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2">
            <a:extLst>
              <a:ext uri="{FF2B5EF4-FFF2-40B4-BE49-F238E27FC236}">
                <a16:creationId xmlns:a16="http://schemas.microsoft.com/office/drawing/2014/main" id="{647D092C-D113-4421-B831-BD4C1751322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4" b="7644"/>
          <a:stretch/>
        </p:blipFill>
        <p:spPr>
          <a:xfrm>
            <a:off x="4408" y="0"/>
            <a:ext cx="12187592" cy="6858000"/>
          </a:xfrm>
          <a:prstGeom prst="rect">
            <a:avLst/>
          </a:prstGeom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D810947-953A-423D-98E3-E86451A08A7B}"/>
              </a:ext>
            </a:extLst>
          </p:cNvPr>
          <p:cNvSpPr/>
          <p:nvPr/>
        </p:nvSpPr>
        <p:spPr>
          <a:xfrm>
            <a:off x="0" y="0"/>
            <a:ext cx="12208876" cy="6858000"/>
          </a:xfrm>
          <a:prstGeom prst="roundRect">
            <a:avLst>
              <a:gd name="adj" fmla="val 0"/>
            </a:avLst>
          </a:prstGeom>
          <a:solidFill>
            <a:schemeClr val="tx2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9" tIns="45709" rIns="91419" bIns="45709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z="3199" b="1" spc="-50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7" name="Straight Connector 29">
            <a:extLst>
              <a:ext uri="{FF2B5EF4-FFF2-40B4-BE49-F238E27FC236}">
                <a16:creationId xmlns:a16="http://schemas.microsoft.com/office/drawing/2014/main" id="{F5DFE72D-BF3D-4927-95B6-F4FA971A97C4}"/>
              </a:ext>
            </a:extLst>
          </p:cNvPr>
          <p:cNvCxnSpPr/>
          <p:nvPr/>
        </p:nvCxnSpPr>
        <p:spPr>
          <a:xfrm>
            <a:off x="818942" y="945078"/>
            <a:ext cx="10520365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FF8FB69B-5BF3-41F6-9367-9BB40DB47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433" y="585836"/>
            <a:ext cx="9924122" cy="359917"/>
          </a:xfrm>
        </p:spPr>
        <p:txBody>
          <a:bodyPr/>
          <a:lstStyle/>
          <a:p>
            <a:r>
              <a:rPr lang="da-DK" sz="2400" b="1" dirty="0">
                <a:solidFill>
                  <a:schemeClr val="bg1"/>
                </a:solidFill>
              </a:rPr>
              <a:t>BRANCHER</a:t>
            </a:r>
            <a:endParaRPr lang="da-DK" sz="1800" b="1" dirty="0">
              <a:solidFill>
                <a:schemeClr val="bg1"/>
              </a:solidFill>
            </a:endParaRPr>
          </a:p>
        </p:txBody>
      </p:sp>
      <p:sp>
        <p:nvSpPr>
          <p:cNvPr id="36" name="Slide Number Placeholder 2">
            <a:extLst>
              <a:ext uri="{FF2B5EF4-FFF2-40B4-BE49-F238E27FC236}">
                <a16:creationId xmlns:a16="http://schemas.microsoft.com/office/drawing/2014/main" id="{2FF3AE54-EEAA-4E9C-8396-215BE9FC2CFA}"/>
              </a:ext>
            </a:extLst>
          </p:cNvPr>
          <p:cNvSpPr txBox="1">
            <a:spLocks/>
          </p:cNvSpPr>
          <p:nvPr/>
        </p:nvSpPr>
        <p:spPr bwMode="auto">
          <a:xfrm>
            <a:off x="11542348" y="6279750"/>
            <a:ext cx="479827" cy="156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6789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None/>
              <a:defRPr sz="1600" kern="1200" cap="all" spc="-50" baseline="0">
                <a:solidFill>
                  <a:schemeClr val="bg1">
                    <a:lumMod val="50000"/>
                  </a:schemeClr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4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10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0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421AFA-3AE7-4CEA-BC9B-447859BED57B}" type="slidenum">
              <a:rPr lang="da-DK" sz="900"/>
              <a:pPr/>
              <a:t>6</a:t>
            </a:fld>
            <a:endParaRPr lang="da-DK" sz="9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C63A88D-3415-43C2-96E2-6EDC3F5CA50F}"/>
              </a:ext>
            </a:extLst>
          </p:cNvPr>
          <p:cNvSpPr txBox="1"/>
          <p:nvPr/>
        </p:nvSpPr>
        <p:spPr>
          <a:xfrm>
            <a:off x="818941" y="1065597"/>
            <a:ext cx="992412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6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”For hvilke brancher er </a:t>
            </a:r>
            <a:r>
              <a:rPr lang="da-DK" sz="1600" b="1" i="0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faciliteten</a:t>
            </a:r>
            <a:r>
              <a:rPr lang="da-DK" sz="16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 relevant til test-, demonstration og udvikling?”</a:t>
            </a:r>
            <a:endParaRPr lang="da-DK" sz="1600" dirty="0">
              <a:solidFill>
                <a:schemeClr val="bg1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927A24A7-7E7C-441A-A4C0-50BC80B744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9386106"/>
              </p:ext>
            </p:extLst>
          </p:nvPr>
        </p:nvGraphicFramePr>
        <p:xfrm>
          <a:off x="776433" y="1564801"/>
          <a:ext cx="10562873" cy="47149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930297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lede 2">
            <a:extLst>
              <a:ext uri="{FF2B5EF4-FFF2-40B4-BE49-F238E27FC236}">
                <a16:creationId xmlns:a16="http://schemas.microsoft.com/office/drawing/2014/main" id="{679F3427-82BF-48DF-8C7A-C03B6C0E379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52" b="7752"/>
          <a:stretch/>
        </p:blipFill>
        <p:spPr>
          <a:xfrm>
            <a:off x="4408" y="0"/>
            <a:ext cx="12187592" cy="6858000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E3A54C3-377F-4835-8068-5CDA66405F3E}"/>
              </a:ext>
            </a:extLst>
          </p:cNvPr>
          <p:cNvSpPr/>
          <p:nvPr/>
        </p:nvSpPr>
        <p:spPr>
          <a:xfrm>
            <a:off x="0" y="0"/>
            <a:ext cx="12208876" cy="6858000"/>
          </a:xfrm>
          <a:prstGeom prst="roundRect">
            <a:avLst>
              <a:gd name="adj" fmla="val 0"/>
            </a:avLst>
          </a:prstGeom>
          <a:solidFill>
            <a:schemeClr val="tx2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9" tIns="45709" rIns="91419" bIns="45709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z="3199" b="1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6" name="Slide Number Placeholder 2">
            <a:extLst>
              <a:ext uri="{FF2B5EF4-FFF2-40B4-BE49-F238E27FC236}">
                <a16:creationId xmlns:a16="http://schemas.microsoft.com/office/drawing/2014/main" id="{2FF3AE54-EEAA-4E9C-8396-215BE9FC2CFA}"/>
              </a:ext>
            </a:extLst>
          </p:cNvPr>
          <p:cNvSpPr txBox="1">
            <a:spLocks/>
          </p:cNvSpPr>
          <p:nvPr/>
        </p:nvSpPr>
        <p:spPr bwMode="auto">
          <a:xfrm>
            <a:off x="11542348" y="6279750"/>
            <a:ext cx="479827" cy="156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6789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None/>
              <a:defRPr sz="1600" kern="1200" cap="all" spc="-50" baseline="0">
                <a:solidFill>
                  <a:schemeClr val="bg1">
                    <a:lumMod val="50000"/>
                  </a:schemeClr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4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10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0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421AFA-3AE7-4CEA-BC9B-447859BED57B}" type="slidenum">
              <a:rPr lang="da-DK" sz="900"/>
              <a:pPr/>
              <a:t>7</a:t>
            </a:fld>
            <a:endParaRPr lang="da-DK" sz="90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62A1E50-A958-4056-99A7-23D709F195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433" y="585836"/>
            <a:ext cx="9924122" cy="359917"/>
          </a:xfrm>
        </p:spPr>
        <p:txBody>
          <a:bodyPr/>
          <a:lstStyle/>
          <a:p>
            <a:r>
              <a:rPr lang="da-DK" sz="2400" b="1" dirty="0">
                <a:solidFill>
                  <a:schemeClr val="bg1"/>
                </a:solidFill>
              </a:rPr>
              <a:t>KATEGORIER</a:t>
            </a:r>
            <a:endParaRPr lang="da-DK" sz="2400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29">
            <a:extLst>
              <a:ext uri="{FF2B5EF4-FFF2-40B4-BE49-F238E27FC236}">
                <a16:creationId xmlns:a16="http://schemas.microsoft.com/office/drawing/2014/main" id="{BA83B4B5-BB86-48BE-B19A-9FFD8F689D32}"/>
              </a:ext>
            </a:extLst>
          </p:cNvPr>
          <p:cNvCxnSpPr/>
          <p:nvPr/>
        </p:nvCxnSpPr>
        <p:spPr>
          <a:xfrm>
            <a:off x="808432" y="987118"/>
            <a:ext cx="10520365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43348C9-523B-49AD-A309-AD6EF49E1CDB}"/>
              </a:ext>
            </a:extLst>
          </p:cNvPr>
          <p:cNvSpPr txBox="1"/>
          <p:nvPr/>
        </p:nvSpPr>
        <p:spPr>
          <a:xfrm>
            <a:off x="818942" y="1065597"/>
            <a:ext cx="680798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6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”Hvilken kategori beskriver </a:t>
            </a:r>
            <a:r>
              <a:rPr lang="da-DK" sz="1600" b="1" i="0" u="sng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faciliteten</a:t>
            </a:r>
            <a:r>
              <a:rPr lang="da-DK" sz="1600" b="1" i="0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 </a:t>
            </a:r>
            <a:r>
              <a:rPr lang="da-DK" sz="1600" b="1" i="0" u="none" strike="noStrike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bedst?” </a:t>
            </a:r>
            <a:endParaRPr lang="da-DK" sz="1600" dirty="0">
              <a:solidFill>
                <a:schemeClr val="bg1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5DD659DA-EBC7-429A-AB36-7D60B6C2E0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845520"/>
              </p:ext>
            </p:extLst>
          </p:nvPr>
        </p:nvGraphicFramePr>
        <p:xfrm>
          <a:off x="776433" y="1672938"/>
          <a:ext cx="10552363" cy="41979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628856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B12EBE2-F1CC-4903-B8C2-22CDA683121F}"/>
              </a:ext>
            </a:extLst>
          </p:cNvPr>
          <p:cNvSpPr/>
          <p:nvPr/>
        </p:nvSpPr>
        <p:spPr>
          <a:xfrm>
            <a:off x="8781143" y="0"/>
            <a:ext cx="3410857" cy="68580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C44A63-3A64-4A0D-8EA8-608DC951C1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3. UDVIKLING AF DIGITAL PLATFOR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B03C0A-49AD-4246-B1AB-A478CCD0DE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9874" y="1644652"/>
            <a:ext cx="5747326" cy="4062413"/>
          </a:xfrm>
        </p:spPr>
        <p:txBody>
          <a:bodyPr/>
          <a:lstStyle/>
          <a:p>
            <a:r>
              <a:rPr lang="da-DK" dirty="0"/>
              <a:t>Samarbejde med Erhvervsstyrelsen / Virksomhedsguiden</a:t>
            </a:r>
          </a:p>
          <a:p>
            <a:r>
              <a:rPr lang="da-DK" dirty="0"/>
              <a:t>Tilgængelighed og brugervenlighed med udgangspunkt i kortlægningsresultater</a:t>
            </a:r>
          </a:p>
          <a:p>
            <a:r>
              <a:rPr lang="da-DK" dirty="0"/>
              <a:t>Fokus på at:</a:t>
            </a:r>
          </a:p>
          <a:p>
            <a:pPr lvl="1"/>
            <a:r>
              <a:rPr lang="da-DK" dirty="0"/>
              <a:t>Vise bredden/mulighederne</a:t>
            </a:r>
          </a:p>
          <a:p>
            <a:pPr lvl="1"/>
            <a:r>
              <a:rPr lang="da-DK" dirty="0"/>
              <a:t>Gøre det muligt at finde det relevante</a:t>
            </a:r>
          </a:p>
          <a:p>
            <a:r>
              <a:rPr lang="da-DK" dirty="0"/>
              <a:t>Mulighed for løbende opdatering af siden</a:t>
            </a:r>
          </a:p>
          <a:p>
            <a:pPr lvl="1"/>
            <a:r>
              <a:rPr lang="da-DK" dirty="0"/>
              <a:t>Administrationsmodul</a:t>
            </a:r>
          </a:p>
          <a:p>
            <a:pPr lvl="1"/>
            <a:r>
              <a:rPr lang="da-DK" dirty="0"/>
              <a:t>Løbende opdatering/tjek</a:t>
            </a:r>
          </a:p>
          <a:p>
            <a:pPr lvl="1"/>
            <a:r>
              <a:rPr lang="da-DK" dirty="0"/>
              <a:t>Meld ind til Martin/ATV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C78EF8-1ADE-4601-A320-FFF3BD3ECB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764" y="1484479"/>
            <a:ext cx="4382758" cy="4382758"/>
          </a:xfrm>
          <a:prstGeom prst="rect">
            <a:avLst/>
          </a:prstGeom>
          <a:ln w="57150">
            <a:solidFill>
              <a:srgbClr val="05326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260743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05B6BB-0CE3-45BA-9697-967F98CF0F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63" imgH="463" progId="TCLayout.ActiveDocument.1">
                  <p:embed/>
                </p:oleObj>
              </mc:Choice>
              <mc:Fallback>
                <p:oleObj name="think-cell Slide" r:id="rId5" imgW="463" imgH="46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05B6BB-0CE3-45BA-9697-967F98CF0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lede 2">
            <a:extLst>
              <a:ext uri="{FF2B5EF4-FFF2-40B4-BE49-F238E27FC236}">
                <a16:creationId xmlns:a16="http://schemas.microsoft.com/office/drawing/2014/main" id="{58B37535-36FB-4C7F-9D31-FDA75254A6D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38" b="7638"/>
          <a:stretch/>
        </p:blipFill>
        <p:spPr>
          <a:xfrm>
            <a:off x="4408" y="0"/>
            <a:ext cx="12187592" cy="6858000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D91E5D6-CB9B-43CC-A8E2-A37E2EE494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chemeClr val="tx2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9" tIns="45709" rIns="91419" bIns="45709" rtlCol="0" anchor="ctr"/>
          <a:lstStyle/>
          <a:p>
            <a:pPr defTabSz="457098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</a:pPr>
            <a:endParaRPr lang="da-DK" sz="3199" b="1" spc="-5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4CDDE12-1FBD-4786-8E67-E74CCA7EAE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167" y="7055139"/>
            <a:ext cx="10546356" cy="748627"/>
          </a:xfrm>
        </p:spPr>
        <p:txBody>
          <a:bodyPr vert="horz"/>
          <a:lstStyle/>
          <a:p>
            <a:r>
              <a:rPr lang="da-DK"/>
              <a:t>”grimme slides” til brug for præsentation d. 1. april 2022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7C8B37-2626-46FD-99E3-9DC53280E483}"/>
              </a:ext>
            </a:extLst>
          </p:cNvPr>
          <p:cNvSpPr/>
          <p:nvPr/>
        </p:nvSpPr>
        <p:spPr>
          <a:xfrm>
            <a:off x="552450" y="1565948"/>
            <a:ext cx="11635142" cy="4453852"/>
          </a:xfrm>
          <a:custGeom>
            <a:avLst/>
            <a:gdLst>
              <a:gd name="connsiteX0" fmla="*/ 0 w 11226800"/>
              <a:gd name="connsiteY0" fmla="*/ 0 h 3591680"/>
              <a:gd name="connsiteX1" fmla="*/ 11226800 w 11226800"/>
              <a:gd name="connsiteY1" fmla="*/ 0 h 3591680"/>
              <a:gd name="connsiteX2" fmla="*/ 11226800 w 11226800"/>
              <a:gd name="connsiteY2" fmla="*/ 3591680 h 3591680"/>
              <a:gd name="connsiteX3" fmla="*/ 0 w 11226800"/>
              <a:gd name="connsiteY3" fmla="*/ 3591680 h 3591680"/>
              <a:gd name="connsiteX4" fmla="*/ 0 w 11226800"/>
              <a:gd name="connsiteY4" fmla="*/ 0 h 3591680"/>
              <a:gd name="connsiteX0" fmla="*/ 0 w 11226800"/>
              <a:gd name="connsiteY0" fmla="*/ 0 h 3611296"/>
              <a:gd name="connsiteX1" fmla="*/ 11226800 w 11226800"/>
              <a:gd name="connsiteY1" fmla="*/ 0 h 3611296"/>
              <a:gd name="connsiteX2" fmla="*/ 11226800 w 11226800"/>
              <a:gd name="connsiteY2" fmla="*/ 3591680 h 3611296"/>
              <a:gd name="connsiteX3" fmla="*/ 4887296 w 11226800"/>
              <a:gd name="connsiteY3" fmla="*/ 3611296 h 3611296"/>
              <a:gd name="connsiteX4" fmla="*/ 0 w 11226800"/>
              <a:gd name="connsiteY4" fmla="*/ 3591680 h 3611296"/>
              <a:gd name="connsiteX5" fmla="*/ 0 w 11226800"/>
              <a:gd name="connsiteY5" fmla="*/ 0 h 3611296"/>
              <a:gd name="connsiteX0" fmla="*/ 0 w 11226800"/>
              <a:gd name="connsiteY0" fmla="*/ 0 h 3611296"/>
              <a:gd name="connsiteX1" fmla="*/ 11226800 w 11226800"/>
              <a:gd name="connsiteY1" fmla="*/ 0 h 3611296"/>
              <a:gd name="connsiteX2" fmla="*/ 11226800 w 11226800"/>
              <a:gd name="connsiteY2" fmla="*/ 3591680 h 3611296"/>
              <a:gd name="connsiteX3" fmla="*/ 4887296 w 11226800"/>
              <a:gd name="connsiteY3" fmla="*/ 3611296 h 3611296"/>
              <a:gd name="connsiteX4" fmla="*/ 0 w 11226800"/>
              <a:gd name="connsiteY4" fmla="*/ 3591680 h 3611296"/>
              <a:gd name="connsiteX5" fmla="*/ 0 w 11226800"/>
              <a:gd name="connsiteY5" fmla="*/ 0 h 3611296"/>
              <a:gd name="connsiteX0" fmla="*/ 0 w 11226800"/>
              <a:gd name="connsiteY0" fmla="*/ 0 h 3591680"/>
              <a:gd name="connsiteX1" fmla="*/ 11226800 w 11226800"/>
              <a:gd name="connsiteY1" fmla="*/ 0 h 3591680"/>
              <a:gd name="connsiteX2" fmla="*/ 11226800 w 11226800"/>
              <a:gd name="connsiteY2" fmla="*/ 3591680 h 3591680"/>
              <a:gd name="connsiteX3" fmla="*/ 6766896 w 11226800"/>
              <a:gd name="connsiteY3" fmla="*/ 3572234 h 3591680"/>
              <a:gd name="connsiteX4" fmla="*/ 0 w 11226800"/>
              <a:gd name="connsiteY4" fmla="*/ 3591680 h 3591680"/>
              <a:gd name="connsiteX5" fmla="*/ 0 w 11226800"/>
              <a:gd name="connsiteY5" fmla="*/ 0 h 359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26800" h="3591680">
                <a:moveTo>
                  <a:pt x="0" y="0"/>
                </a:moveTo>
                <a:lnTo>
                  <a:pt x="11226800" y="0"/>
                </a:lnTo>
                <a:lnTo>
                  <a:pt x="11226800" y="3591680"/>
                </a:lnTo>
                <a:lnTo>
                  <a:pt x="6766896" y="3572234"/>
                </a:lnTo>
                <a:lnTo>
                  <a:pt x="0" y="359168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AF9FB60-0D6D-4A19-BAB4-B013397A04B2}"/>
              </a:ext>
            </a:extLst>
          </p:cNvPr>
          <p:cNvGrpSpPr/>
          <p:nvPr/>
        </p:nvGrpSpPr>
        <p:grpSpPr>
          <a:xfrm>
            <a:off x="5563399" y="2200137"/>
            <a:ext cx="5987815" cy="3154065"/>
            <a:chOff x="6368537" y="3725564"/>
            <a:chExt cx="4412175" cy="2324101"/>
          </a:xfrm>
          <a:effectLst>
            <a:outerShdw blurRad="304800" dist="241300" dir="1560000" algn="bl" rotWithShape="0">
              <a:prstClr val="black">
                <a:alpha val="16000"/>
              </a:prstClr>
            </a:outerShdw>
          </a:effectLst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FD0C602-562C-443E-9619-A9258E6D2B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37" r="4767"/>
            <a:stretch/>
          </p:blipFill>
          <p:spPr>
            <a:xfrm>
              <a:off x="6977063" y="3888528"/>
              <a:ext cx="2976993" cy="1867407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E41B56D-6FE7-4D30-A5E0-D55D3933E2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774" t="-557" r="1411" b="1"/>
            <a:stretch/>
          </p:blipFill>
          <p:spPr>
            <a:xfrm>
              <a:off x="9757431" y="4022673"/>
              <a:ext cx="853107" cy="1797102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DD6949D-FB72-448A-A74A-247BE563A7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63" t="29414" r="16079" b="16412"/>
            <a:stretch/>
          </p:blipFill>
          <p:spPr>
            <a:xfrm>
              <a:off x="6368537" y="3725564"/>
              <a:ext cx="4412175" cy="2324101"/>
            </a:xfrm>
            <a:prstGeom prst="rect">
              <a:avLst/>
            </a:prstGeom>
          </p:spPr>
        </p:pic>
      </p:grp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B3C4CD-742B-425A-9EBE-4908F10EE288}"/>
              </a:ext>
            </a:extLst>
          </p:cNvPr>
          <p:cNvSpPr txBox="1">
            <a:spLocks/>
          </p:cNvSpPr>
          <p:nvPr/>
        </p:nvSpPr>
        <p:spPr>
          <a:xfrm>
            <a:off x="871731" y="2603346"/>
            <a:ext cx="10144021" cy="3217255"/>
          </a:xfrm>
          <a:prstGeom prst="rect">
            <a:avLst/>
          </a:prstGeom>
        </p:spPr>
        <p:txBody>
          <a:bodyPr/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a-DK" sz="1000" dirty="0">
              <a:solidFill>
                <a:schemeClr val="bg1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da-DK" sz="1000" dirty="0">
              <a:solidFill>
                <a:schemeClr val="bg1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da-DK" sz="2800" dirty="0">
                <a:solidFill>
                  <a:schemeClr val="bg1"/>
                </a:solidFill>
              </a:rPr>
              <a:t>VIRKSOMHEDSGUIDEN.DK/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a-DK" sz="2800" dirty="0">
                <a:solidFill>
                  <a:schemeClr val="bg1"/>
                </a:solidFill>
              </a:rPr>
              <a:t>TESTFACILITETER</a:t>
            </a:r>
          </a:p>
        </p:txBody>
      </p:sp>
    </p:spTree>
    <p:extLst>
      <p:ext uri="{BB962C8B-B14F-4D97-AF65-F5344CB8AC3E}">
        <p14:creationId xmlns:p14="http://schemas.microsoft.com/office/powerpoint/2010/main" val="865835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HA\AppData\Local\Temp\Templafy\PowerPointVsto\Assets\7f9f795d-57c7-4188-8195-df16b46976ff.jp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HA\AppData\Local\Temp\Templafy\PowerPointVsto\Assets\7f9f795d-57c7-4188-8195-df16b46976ff.jp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HA\AppData\Local\Temp\Templafy\PowerPointVsto\Assets\7f9f795d-57c7-4188-8195-df16b46976ff.jp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HA\AppData\Local\Temp\Templafy\PowerPointVsto\Assets\7f9f795d-57c7-4188-8195-df16b46976ff.jp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HA\AppData\Local\Temp\Templafy\PowerPointVsto\Assets\7f9f795d-57c7-4188-8195-df16b46976ff.jp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PvZWDNTxSC1qKbhsM1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HA\AppData\Local\Temp\Templafy\PowerPointVsto\Assets\7f9f795d-57c7-4188-8195-df16b46976ff.jp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Blank.potx" id="{3D84172B-BC32-4829-9946-B47AC54719B7}" vid="{B0B1BEF7-9251-4B00-8C03-BD9B8A7F23A0}"/>
    </a:ext>
  </a:extLst>
</a:theme>
</file>

<file path=ppt/theme/theme2.xml><?xml version="1.0" encoding="utf-8"?>
<a:theme xmlns:a="http://schemas.openxmlformats.org/drawingml/2006/main" name="1_Blank">
  <a:themeElements>
    <a:clrScheme name="Ramboll">
      <a:dk1>
        <a:srgbClr val="333333"/>
      </a:dk1>
      <a:lt1>
        <a:srgbClr val="FFFFFF"/>
      </a:lt1>
      <a:dk2>
        <a:srgbClr val="009DF0"/>
      </a:dk2>
      <a:lt2>
        <a:srgbClr val="797766"/>
      </a:lt2>
      <a:accent1>
        <a:srgbClr val="ADDDFF"/>
      </a:accent1>
      <a:accent2>
        <a:srgbClr val="3AA551"/>
      </a:accent2>
      <a:accent3>
        <a:srgbClr val="A8D100"/>
      </a:accent3>
      <a:accent4>
        <a:srgbClr val="C40079"/>
      </a:accent4>
      <a:accent5>
        <a:srgbClr val="C63418"/>
      </a:accent5>
      <a:accent6>
        <a:srgbClr val="D0CFC9"/>
      </a:accent6>
      <a:hlink>
        <a:srgbClr val="009DF0"/>
      </a:hlink>
      <a:folHlink>
        <a:srgbClr val="ADDDF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R="0" algn="l" defTabSz="457200" rtl="0" eaLnBrk="0" fontAlgn="base" latinLnBrk="0" hangingPunct="0">
          <a:spcBef>
            <a:spcPct val="0"/>
          </a:spcBef>
          <a:buClrTx/>
          <a:buSzTx/>
          <a:tabLst/>
          <a:defRPr kumimoji="0" sz="1800" b="0" i="0" u="none" strike="noStrike" kern="120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Verdana"/>
            <a:ea typeface="Verdana" pitchFamily="34" charset="0"/>
            <a:cs typeface="Verdana" pitchFamily="34" charset="0"/>
          </a:defRPr>
        </a:defPPr>
      </a:lstStyle>
    </a:txDef>
  </a:objectDefaults>
  <a:extraClrSchemeLst/>
  <a:custClrLst>
    <a:custClr name="Black">
      <a:srgbClr val="333333"/>
    </a:custClr>
    <a:custClr name="Dark Grey">
      <a:srgbClr val="797766"/>
    </a:custClr>
    <a:custClr name="Cyan">
      <a:srgbClr val="009DF0"/>
    </a:custClr>
    <a:custClr name="Light Blue">
      <a:srgbClr val="ADDDFF"/>
    </a:custClr>
    <a:custClr name="Green">
      <a:srgbClr val="3AA551"/>
    </a:custClr>
    <a:custClr name="Lime Green">
      <a:srgbClr val="A8D100"/>
    </a:custClr>
    <a:custClr name="Magenta">
      <a:srgbClr val="C40079"/>
    </a:custClr>
    <a:custClr name="Warm Red">
      <a:srgbClr val="C63418"/>
    </a:custClr>
    <a:custClr name="Light Grey">
      <a:srgbClr val="D0CFC9"/>
    </a:custClr>
    <a:custClr name="Dark Blue">
      <a:srgbClr val="006FAD"/>
    </a:custClr>
    <a:custClr name="White">
      <a:srgbClr val="FFFFFF"/>
    </a:custClr>
    <a:custClr name="65% Dark Grey">
      <a:srgbClr val="A8A69B"/>
    </a:custClr>
    <a:custClr name="65% Cyan">
      <a:srgbClr val="59BFF5"/>
    </a:custClr>
    <a:custClr name="65% Light Blue">
      <a:srgbClr val="CAE9FF"/>
    </a:custClr>
    <a:custClr name="65% Green">
      <a:srgbClr val="7FC48E"/>
    </a:custClr>
    <a:custClr name="65% Lime Green">
      <a:srgbClr val="C6E159"/>
    </a:custClr>
    <a:custClr name="65% Magenta">
      <a:srgbClr val="D959A8"/>
    </a:custClr>
    <a:custClr name="65% Warm Red">
      <a:srgbClr val="DA7B69"/>
    </a:custClr>
    <a:custClr name="65% Light Grey">
      <a:srgbClr val="E0E0DC"/>
    </a:custClr>
    <a:custClr name="65% Dark Blue">
      <a:srgbClr val="59A1CA"/>
    </a:custClr>
    <a:custClr name="White">
      <a:srgbClr val="FFFFFF"/>
    </a:custClr>
    <a:custClr name="30% Dark Grey">
      <a:srgbClr val="D7D6D1"/>
    </a:custClr>
    <a:custClr name="30% Cyan">
      <a:srgbClr val="B2E1FA"/>
    </a:custClr>
    <a:custClr name="30% Light Blue">
      <a:srgbClr val="E6F5FF"/>
    </a:custClr>
    <a:custClr name="30% Green">
      <a:srgbClr val="C4E4CA"/>
    </a:custClr>
    <a:custClr name="30% Lime Green">
      <a:srgbClr val="E5F1B2"/>
    </a:custClr>
    <a:custClr name="30% Magenta">
      <a:srgbClr val="EDB2D7"/>
    </a:custClr>
    <a:custClr name="30% Warm Red">
      <a:srgbClr val="EEC2B9"/>
    </a:custClr>
    <a:custClr name="30% Light Grey">
      <a:srgbClr val="F6F6F4"/>
    </a:custClr>
    <a:custClr name="30% Dark Blue">
      <a:srgbClr val="B2D4E6"/>
    </a:custClr>
  </a:custClrLst>
  <a:extLst>
    <a:ext uri="{05A4C25C-085E-4340-85A3-A5531E510DB2}">
      <thm15:themeFamily xmlns:thm15="http://schemas.microsoft.com/office/thememl/2012/main" name="Blank.potx" id="{CC34BEB4-56BE-4C35-B3C1-ED2770E08490}" vid="{5E58AF69-3E00-4BE6-9424-5697BE04CE91}"/>
    </a:ext>
  </a:extLst>
</a:theme>
</file>

<file path=ppt/theme/theme3.xml><?xml version="1.0" encoding="utf-8"?>
<a:theme xmlns:a="http://schemas.openxmlformats.org/drawingml/2006/main" name="Blank">
  <a:themeElements>
    <a:clrScheme name="Ramboll">
      <a:dk1>
        <a:srgbClr val="333333"/>
      </a:dk1>
      <a:lt1>
        <a:srgbClr val="FFFFFF"/>
      </a:lt1>
      <a:dk2>
        <a:srgbClr val="009DF0"/>
      </a:dk2>
      <a:lt2>
        <a:srgbClr val="797766"/>
      </a:lt2>
      <a:accent1>
        <a:srgbClr val="ADDDFF"/>
      </a:accent1>
      <a:accent2>
        <a:srgbClr val="3AA551"/>
      </a:accent2>
      <a:accent3>
        <a:srgbClr val="A8D100"/>
      </a:accent3>
      <a:accent4>
        <a:srgbClr val="C40079"/>
      </a:accent4>
      <a:accent5>
        <a:srgbClr val="C63418"/>
      </a:accent5>
      <a:accent6>
        <a:srgbClr val="D0CFC9"/>
      </a:accent6>
      <a:hlink>
        <a:srgbClr val="009DF0"/>
      </a:hlink>
      <a:folHlink>
        <a:srgbClr val="ADDDF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R="0" algn="l" defTabSz="457200" rtl="0" eaLnBrk="0" fontAlgn="base" latinLnBrk="0" hangingPunct="0">
          <a:spcBef>
            <a:spcPct val="0"/>
          </a:spcBef>
          <a:buClrTx/>
          <a:buSzTx/>
          <a:tabLst/>
          <a:defRPr kumimoji="0" sz="1800" b="0" i="0" u="none" strike="noStrike" kern="120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Verdana"/>
            <a:ea typeface="Verdana" pitchFamily="34" charset="0"/>
            <a:cs typeface="Verdana" pitchFamily="34" charset="0"/>
          </a:defRPr>
        </a:defPPr>
      </a:lstStyle>
    </a:txDef>
  </a:objectDefaults>
  <a:extraClrSchemeLst/>
  <a:custClrLst>
    <a:custClr name="Black">
      <a:srgbClr val="333333"/>
    </a:custClr>
    <a:custClr name="Dark Grey">
      <a:srgbClr val="797766"/>
    </a:custClr>
    <a:custClr name="Cyan">
      <a:srgbClr val="009DF0"/>
    </a:custClr>
    <a:custClr name="Light Blue">
      <a:srgbClr val="ADDDFF"/>
    </a:custClr>
    <a:custClr name="Green">
      <a:srgbClr val="3AA551"/>
    </a:custClr>
    <a:custClr name="Lime Green">
      <a:srgbClr val="A8D100"/>
    </a:custClr>
    <a:custClr name="Magenta">
      <a:srgbClr val="C40079"/>
    </a:custClr>
    <a:custClr name="Warm Red">
      <a:srgbClr val="C63418"/>
    </a:custClr>
    <a:custClr name="Light Grey">
      <a:srgbClr val="D0CFC9"/>
    </a:custClr>
    <a:custClr name="Dark Blue">
      <a:srgbClr val="006FAD"/>
    </a:custClr>
    <a:custClr name="White">
      <a:srgbClr val="FFFFFF"/>
    </a:custClr>
    <a:custClr name="65% Dark Grey">
      <a:srgbClr val="A8A69B"/>
    </a:custClr>
    <a:custClr name="65% Cyan">
      <a:srgbClr val="59BFF5"/>
    </a:custClr>
    <a:custClr name="65% Light Blue">
      <a:srgbClr val="CAE9FF"/>
    </a:custClr>
    <a:custClr name="65% Green">
      <a:srgbClr val="7FC48E"/>
    </a:custClr>
    <a:custClr name="65% Lime Green">
      <a:srgbClr val="C6E159"/>
    </a:custClr>
    <a:custClr name="65% Magenta">
      <a:srgbClr val="D959A8"/>
    </a:custClr>
    <a:custClr name="65% Warm Red">
      <a:srgbClr val="DA7B69"/>
    </a:custClr>
    <a:custClr name="65% Light Grey">
      <a:srgbClr val="E0E0DC"/>
    </a:custClr>
    <a:custClr name="65% Dark Blue">
      <a:srgbClr val="59A1CA"/>
    </a:custClr>
    <a:custClr name="White">
      <a:srgbClr val="FFFFFF"/>
    </a:custClr>
    <a:custClr name="30% Dark Grey">
      <a:srgbClr val="D7D6D1"/>
    </a:custClr>
    <a:custClr name="30% Cyan">
      <a:srgbClr val="B2E1FA"/>
    </a:custClr>
    <a:custClr name="30% Light Blue">
      <a:srgbClr val="E6F5FF"/>
    </a:custClr>
    <a:custClr name="30% Green">
      <a:srgbClr val="C4E4CA"/>
    </a:custClr>
    <a:custClr name="30% Lime Green">
      <a:srgbClr val="E5F1B2"/>
    </a:custClr>
    <a:custClr name="30% Magenta">
      <a:srgbClr val="EDB2D7"/>
    </a:custClr>
    <a:custClr name="30% Warm Red">
      <a:srgbClr val="EEC2B9"/>
    </a:custClr>
    <a:custClr name="30% Light Grey">
      <a:srgbClr val="F6F6F4"/>
    </a:custClr>
    <a:custClr name="30% Dark Blue">
      <a:srgbClr val="B2D4E6"/>
    </a:custClr>
  </a:custClrLst>
  <a:extLst>
    <a:ext uri="{05A4C25C-085E-4340-85A3-A5531E510DB2}">
      <thm15:themeFamily xmlns:thm15="http://schemas.microsoft.com/office/thememl/2012/main" name="Blank.potx" id="{CC34BEB4-56BE-4C35-B3C1-ED2770E08490}" vid="{5E58AF69-3E00-4BE6-9424-5697BE04CE9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</TotalTime>
  <Words>683</Words>
  <Application>Microsoft Office PowerPoint</Application>
  <PresentationFormat>Widescreen</PresentationFormat>
  <Paragraphs>177</Paragraphs>
  <Slides>22</Slides>
  <Notes>21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Verdana</vt:lpstr>
      <vt:lpstr>Blank</vt:lpstr>
      <vt:lpstr>1_Blank</vt:lpstr>
      <vt:lpstr>Blank</vt:lpstr>
      <vt:lpstr>think-cell Slide</vt:lpstr>
      <vt:lpstr>”grimme slides” til brug for præsentation d. 1. april 2022 </vt:lpstr>
      <vt:lpstr>mål</vt:lpstr>
      <vt:lpstr>1. Kvalificering</vt:lpstr>
      <vt:lpstr>2. INDSAMLING AF DATA</vt:lpstr>
      <vt:lpstr>UDBYDERTYPER</vt:lpstr>
      <vt:lpstr>BRANCHER</vt:lpstr>
      <vt:lpstr>KATEGORIER</vt:lpstr>
      <vt:lpstr>3. UDVIKLING AF DIGITAL PLATFORM</vt:lpstr>
      <vt:lpstr>”grimme slides” til brug for præsentation d. 1. april 2022 </vt:lpstr>
      <vt:lpstr>PowerPoint Presentation</vt:lpstr>
      <vt:lpstr>PowerPoint Presentation</vt:lpstr>
      <vt:lpstr>Oplevelsen af manglende testfaciliteter afhænger af virksomhedsstørrelse og branch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Johanne Fyhn Elgaard</dc:creator>
  <cp:lastModifiedBy>Michael Schwartz Ravn</cp:lastModifiedBy>
  <cp:revision>1</cp:revision>
  <dcterms:created xsi:type="dcterms:W3CDTF">2021-10-25T08:03:09Z</dcterms:created>
  <dcterms:modified xsi:type="dcterms:W3CDTF">2022-03-31T10:47:33Z</dcterms:modified>
</cp:coreProperties>
</file>